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9" r:id="rId1"/>
  </p:sldMasterIdLst>
  <p:notesMasterIdLst>
    <p:notesMasterId r:id="rId19"/>
  </p:notesMasterIdLst>
  <p:handoutMasterIdLst>
    <p:handoutMasterId r:id="rId20"/>
  </p:handoutMasterIdLst>
  <p:sldIdLst>
    <p:sldId id="401" r:id="rId2"/>
    <p:sldId id="476" r:id="rId3"/>
    <p:sldId id="477" r:id="rId4"/>
    <p:sldId id="513" r:id="rId5"/>
    <p:sldId id="522" r:id="rId6"/>
    <p:sldId id="534" r:id="rId7"/>
    <p:sldId id="533" r:id="rId8"/>
    <p:sldId id="524" r:id="rId9"/>
    <p:sldId id="523" r:id="rId10"/>
    <p:sldId id="535" r:id="rId11"/>
    <p:sldId id="527" r:id="rId12"/>
    <p:sldId id="529" r:id="rId13"/>
    <p:sldId id="530" r:id="rId14"/>
    <p:sldId id="531" r:id="rId15"/>
    <p:sldId id="532" r:id="rId16"/>
    <p:sldId id="525" r:id="rId17"/>
    <p:sldId id="526" r:id="rId18"/>
  </p:sldIdLst>
  <p:sldSz cx="9906000" cy="6858000" type="A4"/>
  <p:notesSz cx="6807200" cy="9939338"/>
  <p:defaultTextStyle>
    <a:defPPr>
      <a:defRPr lang="ko-KR"/>
    </a:defPPr>
    <a:lvl1pPr algn="l" rtl="0" eaLnBrk="0" fontAlgn="base" hangingPunct="0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5pPr>
    <a:lvl6pPr marL="2286000" algn="l" defTabSz="914400" rtl="0" eaLnBrk="1" latinLnBrk="1" hangingPunct="1">
      <a:defRPr kumimoji="1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6pPr>
    <a:lvl7pPr marL="2743200" algn="l" defTabSz="914400" rtl="0" eaLnBrk="1" latinLnBrk="1" hangingPunct="1">
      <a:defRPr kumimoji="1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7pPr>
    <a:lvl8pPr marL="3200400" algn="l" defTabSz="914400" rtl="0" eaLnBrk="1" latinLnBrk="1" hangingPunct="1">
      <a:defRPr kumimoji="1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8pPr>
    <a:lvl9pPr marL="3657600" algn="l" defTabSz="914400" rtl="0" eaLnBrk="1" latinLnBrk="1" hangingPunct="1">
      <a:defRPr kumimoji="1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13" userDrawn="1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0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0000"/>
    <a:srgbClr val="0000FF"/>
    <a:srgbClr val="FFFFCC"/>
    <a:srgbClr val="FF0000"/>
    <a:srgbClr val="FFCC99"/>
    <a:srgbClr val="EB3946"/>
    <a:srgbClr val="DDDDDD"/>
    <a:srgbClr val="0000CC"/>
    <a:srgbClr val="B2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319" autoAdjust="0"/>
    <p:restoredTop sz="84227" autoAdjust="0"/>
  </p:normalViewPr>
  <p:slideViewPr>
    <p:cSldViewPr>
      <p:cViewPr varScale="1">
        <p:scale>
          <a:sx n="121" d="100"/>
          <a:sy n="121" d="100"/>
        </p:scale>
        <p:origin x="1242" y="114"/>
      </p:cViewPr>
      <p:guideLst>
        <p:guide orient="horz" pos="3113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0" d="100"/>
          <a:sy n="60" d="100"/>
        </p:scale>
        <p:origin x="-2736" y="-84"/>
      </p:cViewPr>
      <p:guideLst>
        <p:guide orient="horz" pos="3130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latinLnBrk="1" hangingPunct="1">
              <a:defRPr sz="12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56038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latinLnBrk="1" hangingPunct="1">
              <a:defRPr sz="12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fld id="{3AD0EF87-942A-49DE-BB9C-676A4DE61BA2}" type="datetimeFigureOut">
              <a:rPr lang="ko-KR" altLang="en-US"/>
              <a:pPr>
                <a:defRPr/>
              </a:pPr>
              <a:t>2022-09-04</a:t>
            </a:fld>
            <a:endParaRPr lang="ko-KR" altLang="en-US" dirty="0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latinLnBrk="1" hangingPunct="1">
              <a:defRPr sz="12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56038" y="9440863"/>
            <a:ext cx="2949575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latinLnBrk="1" hangingPunct="1">
              <a:defRPr sz="1200"/>
            </a:lvl1pPr>
          </a:lstStyle>
          <a:p>
            <a:pPr>
              <a:defRPr/>
            </a:pPr>
            <a:fld id="{8176E5A4-F195-4E22-A4CB-5188746176B5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5959782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latinLnBrk="1" hangingPunct="1">
              <a:defRPr sz="12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931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038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latinLnBrk="1" hangingPunct="1">
              <a:defRPr sz="12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2788" y="746125"/>
            <a:ext cx="5381625" cy="3725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31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21225"/>
            <a:ext cx="5445125" cy="4471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</a:p>
        </p:txBody>
      </p:sp>
      <p:sp>
        <p:nvSpPr>
          <p:cNvPr id="931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latinLnBrk="1" hangingPunct="1">
              <a:defRPr sz="12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931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038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latinLnBrk="1" hangingPunct="1">
              <a:defRPr sz="1200"/>
            </a:lvl1pPr>
          </a:lstStyle>
          <a:p>
            <a:pPr>
              <a:defRPr/>
            </a:pPr>
            <a:fld id="{2E854585-E54A-484D-A3B4-5EEEC9406666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05700272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854585-E54A-484D-A3B4-5EEEC9406666}" type="slidenum">
              <a:rPr lang="en-US" altLang="ko-KR" smtClean="0"/>
              <a:pPr>
                <a:defRPr/>
              </a:pPr>
              <a:t>3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4116950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854585-E54A-484D-A3B4-5EEEC9406666}" type="slidenum">
              <a:rPr lang="en-US" altLang="ko-KR" smtClean="0"/>
              <a:pPr>
                <a:defRPr/>
              </a:pPr>
              <a:t>9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2091451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 eaLnBrk="1" latinLnBrk="1" hangingPunct="1"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latinLnBrk="1" hangingPunct="1">
              <a:defRPr/>
            </a:lvl1pPr>
          </a:lstStyle>
          <a:p>
            <a:pPr>
              <a:defRPr/>
            </a:pPr>
            <a:fld id="{113F547D-40EB-4492-B403-DBC46F773230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  <p:pic>
        <p:nvPicPr>
          <p:cNvPr id="7" name="Picture 37" descr="C:\Users\jongpo.choi\Desktop\3D_Logo_Tagline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432" y="6134181"/>
            <a:ext cx="834103" cy="44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265368" y="141866"/>
            <a:ext cx="1409001" cy="6117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528190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23880" y="71414"/>
            <a:ext cx="8915400" cy="439718"/>
          </a:xfrm>
          <a:prstGeom prst="rect">
            <a:avLst/>
          </a:prstGeom>
        </p:spPr>
        <p:txBody>
          <a:bodyPr/>
          <a:lstStyle>
            <a:lvl1pPr algn="l">
              <a:defRPr sz="24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3"/>
          <p:cNvSpPr>
            <a:spLocks noGrp="1"/>
          </p:cNvSpPr>
          <p:nvPr>
            <p:ph type="body" sz="quarter" idx="10"/>
          </p:nvPr>
        </p:nvSpPr>
        <p:spPr>
          <a:xfrm>
            <a:off x="344488" y="714356"/>
            <a:ext cx="8894792" cy="457200"/>
          </a:xfrm>
          <a:prstGeom prst="rect">
            <a:avLst/>
          </a:prstGeom>
        </p:spPr>
        <p:txBody>
          <a:bodyPr/>
          <a:lstStyle>
            <a:lvl1pPr>
              <a:buNone/>
              <a:defRPr sz="1600">
                <a:latin typeface="맑은 고딕" pitchFamily="50" charset="-127"/>
                <a:ea typeface="맑은 고딕" pitchFamily="50" charset="-127"/>
              </a:defRPr>
            </a:lvl1pPr>
            <a:lvl2pPr>
              <a:defRPr sz="1600">
                <a:latin typeface="맑은 고딕" pitchFamily="50" charset="-127"/>
                <a:ea typeface="맑은 고딕" pitchFamily="50" charset="-127"/>
              </a:defRPr>
            </a:lvl2pPr>
            <a:lvl3pPr>
              <a:defRPr sz="1400">
                <a:latin typeface="맑은 고딕" pitchFamily="50" charset="-127"/>
                <a:ea typeface="맑은 고딕" pitchFamily="50" charset="-127"/>
              </a:defRPr>
            </a:lvl3pPr>
            <a:lvl4pPr>
              <a:defRPr sz="1200">
                <a:latin typeface="맑은 고딕" pitchFamily="50" charset="-127"/>
                <a:ea typeface="맑은 고딕" pitchFamily="50" charset="-127"/>
              </a:defRPr>
            </a:lvl4pPr>
            <a:lvl5pPr>
              <a:defRPr sz="120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9" name="Line 14"/>
          <p:cNvSpPr>
            <a:spLocks noChangeShapeType="1"/>
          </p:cNvSpPr>
          <p:nvPr userDrawn="1"/>
        </p:nvSpPr>
        <p:spPr bwMode="auto">
          <a:xfrm>
            <a:off x="0" y="590871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ko-KR" altLang="en-US" dirty="0"/>
          </a:p>
        </p:txBody>
      </p:sp>
      <p:sp>
        <p:nvSpPr>
          <p:cNvPr id="10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4562086" y="6525344"/>
            <a:ext cx="806028" cy="22110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latinLnBrk="1" hangingPunct="1">
              <a:defRPr sz="120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13F547D-40EB-4492-B403-DBC46F773230}" type="slidenum">
              <a:rPr lang="ko-KR" altLang="en-US" smtClean="0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383317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Text Box 168"/>
          <p:cNvSpPr txBox="1">
            <a:spLocks noChangeArrowheads="1"/>
          </p:cNvSpPr>
          <p:nvPr userDrawn="1"/>
        </p:nvSpPr>
        <p:spPr bwMode="auto">
          <a:xfrm>
            <a:off x="4089400" y="153988"/>
            <a:ext cx="1716088" cy="284162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latinLnBrk="1" hangingPunct="1">
              <a:defRPr/>
            </a:pPr>
            <a:r>
              <a:rPr lang="en-US" altLang="ko-KR" sz="1200" dirty="0" smtClean="0">
                <a:solidFill>
                  <a:srgbClr val="C0C0C0"/>
                </a:solidFill>
                <a:latin typeface="Arial" charset="0"/>
                <a:ea typeface="맑은 고딕" pitchFamily="50" charset="-127"/>
              </a:rPr>
              <a:t>LGE Internal Use Only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96" r:id="rId1"/>
    <p:sldLayoutId id="2147483895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Box 168"/>
          <p:cNvSpPr txBox="1">
            <a:spLocks noChangeArrowheads="1"/>
          </p:cNvSpPr>
          <p:nvPr/>
        </p:nvSpPr>
        <p:spPr bwMode="auto">
          <a:xfrm>
            <a:off x="7905750" y="265113"/>
            <a:ext cx="1716088" cy="284162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/>
            <a:r>
              <a:rPr lang="en-US" altLang="ko-KR" sz="1200" dirty="0">
                <a:solidFill>
                  <a:srgbClr val="C0C0C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LGE Internal Use Only</a:t>
            </a:r>
          </a:p>
        </p:txBody>
      </p:sp>
      <p:sp>
        <p:nvSpPr>
          <p:cNvPr id="7171" name="Rectangle 30"/>
          <p:cNvSpPr>
            <a:spLocks noChangeArrowheads="1"/>
          </p:cNvSpPr>
          <p:nvPr/>
        </p:nvSpPr>
        <p:spPr bwMode="auto">
          <a:xfrm>
            <a:off x="1276350" y="1252538"/>
            <a:ext cx="7353300" cy="1712912"/>
          </a:xfrm>
          <a:prstGeom prst="rect">
            <a:avLst/>
          </a:prstGeom>
          <a:solidFill>
            <a:srgbClr val="EAEAEA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1" hangingPunct="1"/>
            <a:r>
              <a:rPr lang="en-US" altLang="ko-KR" sz="2800" b="1" dirty="0" smtClean="0">
                <a:latin typeface="Malgun Gothic" panose="020B0503020000020004" pitchFamily="50" charset="-127"/>
                <a:ea typeface="Malgun Gothic" panose="020B0503020000020004" pitchFamily="50" charset="-127"/>
              </a:rPr>
              <a:t>Analysis / Design Template Usage Guide </a:t>
            </a:r>
            <a:endParaRPr lang="en-US" altLang="ko-KR" sz="2800" b="1" dirty="0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7173" name="Text Box 6"/>
          <p:cNvSpPr txBox="1">
            <a:spLocks noChangeArrowheads="1"/>
          </p:cNvSpPr>
          <p:nvPr/>
        </p:nvSpPr>
        <p:spPr bwMode="auto">
          <a:xfrm>
            <a:off x="3751581" y="4810125"/>
            <a:ext cx="2402837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1" hangingPunct="1"/>
            <a:r>
              <a:rPr lang="en-US" altLang="ko-KR" sz="2000" b="1" dirty="0" smtClean="0"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VSW </a:t>
            </a:r>
            <a:r>
              <a:rPr lang="en-US" altLang="ko-KR" sz="2000" b="1" dirty="0"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Process Unit</a:t>
            </a:r>
          </a:p>
          <a:p>
            <a:pPr algn="ctr" eaLnBrk="1" latinLnBrk="1" hangingPunct="1"/>
            <a:r>
              <a:rPr lang="en-US" altLang="ko-KR" sz="2000" b="1" dirty="0"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LG Electronics Inc.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8007010" y="5606175"/>
            <a:ext cx="1533772" cy="852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제목 1"/>
          <p:cNvSpPr>
            <a:spLocks noGrp="1"/>
          </p:cNvSpPr>
          <p:nvPr>
            <p:ph type="title"/>
          </p:nvPr>
        </p:nvSpPr>
        <p:spPr bwMode="auto">
          <a:xfrm>
            <a:off x="56456" y="71438"/>
            <a:ext cx="9813726" cy="4397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altLang="ko-KR" dirty="0">
                <a:solidFill>
                  <a:schemeClr val="tx1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7</a:t>
            </a:r>
            <a:r>
              <a:rPr lang="en-US" altLang="ko-KR" dirty="0" smtClean="0">
                <a:solidFill>
                  <a:schemeClr val="tx1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. </a:t>
            </a:r>
            <a:r>
              <a:rPr lang="en-US" altLang="ko-KR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Example </a:t>
            </a:r>
            <a: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of Documentation Composition by SW </a:t>
            </a:r>
            <a:r>
              <a:rPr lang="en-US" altLang="ko-KR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Structure type</a:t>
            </a:r>
            <a: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/>
            </a:r>
            <a:b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</a:br>
            <a:endParaRPr lang="ko-KR" altLang="en-US" smtClean="0">
              <a:solidFill>
                <a:schemeClr val="tx1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3F547D-40EB-4492-B403-DBC46F773230}" type="slidenum">
              <a:rPr lang="ko-KR" altLang="en-US" smtClean="0"/>
              <a:pPr>
                <a:defRPr/>
              </a:pPr>
              <a:t>9</a:t>
            </a:fld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344488" y="714356"/>
            <a:ext cx="9433048" cy="1562516"/>
          </a:xfrm>
        </p:spPr>
        <p:txBody>
          <a:bodyPr/>
          <a:lstStyle/>
          <a:p>
            <a:pPr marL="0" indent="0"/>
            <a:r>
              <a:rPr lang="en-US" altLang="ko-KR" dirty="0" smtClean="0"/>
              <a:t>Five </a:t>
            </a:r>
            <a:r>
              <a:rPr lang="en-US" altLang="ko-KR" dirty="0"/>
              <a:t>types of SW structure developed in VS are presented, and examples of each document structure are provided in subsections</a:t>
            </a:r>
            <a:r>
              <a:rPr lang="en-US" altLang="ko-KR" dirty="0" smtClean="0"/>
              <a:t>.</a:t>
            </a:r>
          </a:p>
          <a:p>
            <a:pPr marL="0" indent="0"/>
            <a:r>
              <a:rPr lang="en-US" altLang="ko-KR" sz="1200" dirty="0" smtClean="0"/>
              <a:t>- The </a:t>
            </a:r>
            <a:r>
              <a:rPr lang="en-US" altLang="ko-KR" sz="1200" dirty="0"/>
              <a:t>document organization examples presented in this document are reference materials for document </a:t>
            </a:r>
            <a:r>
              <a:rPr lang="en-US" altLang="ko-KR" sz="1200" dirty="0" smtClean="0"/>
              <a:t>organization, and </a:t>
            </a:r>
            <a:r>
              <a:rPr lang="en-US" altLang="ko-KR" sz="1200" dirty="0"/>
              <a:t>do not </a:t>
            </a:r>
            <a:r>
              <a:rPr lang="en-US" altLang="ko-KR" sz="1200" dirty="0" smtClean="0"/>
              <a:t/>
            </a:r>
            <a:br>
              <a:rPr lang="en-US" altLang="ko-KR" sz="1200" dirty="0" smtClean="0"/>
            </a:br>
            <a:r>
              <a:rPr lang="en-US" altLang="ko-KR" sz="1200" dirty="0" smtClean="0"/>
              <a:t>  limit </a:t>
            </a:r>
            <a:r>
              <a:rPr lang="en-US" altLang="ko-KR" sz="1200" dirty="0"/>
              <a:t>the document organization.</a:t>
            </a:r>
          </a:p>
          <a:p>
            <a:pPr marL="0" indent="0"/>
            <a:r>
              <a:rPr lang="en-US" altLang="ko-KR" sz="1200" dirty="0"/>
              <a:t>- Document organization can change chapters/sections to systematically organize content.</a:t>
            </a:r>
            <a:endParaRPr lang="ko-KR" altLang="en-US" sz="1200"/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144618"/>
              </p:ext>
            </p:extLst>
          </p:nvPr>
        </p:nvGraphicFramePr>
        <p:xfrm>
          <a:off x="367882" y="2132856"/>
          <a:ext cx="9197314" cy="256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8774"/>
                <a:gridCol w="864096"/>
                <a:gridCol w="936104"/>
                <a:gridCol w="936104"/>
                <a:gridCol w="1584176"/>
                <a:gridCol w="939790"/>
                <a:gridCol w="1512168"/>
                <a:gridCol w="936102"/>
              </a:tblGrid>
              <a:tr h="195450">
                <a:tc gridSpan="2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umber</a:t>
                      </a:r>
                      <a:r>
                        <a:rPr lang="en-US" altLang="ko-KR" sz="14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of Documents</a:t>
                      </a:r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</a:tr>
              <a:tr h="1954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W Type</a:t>
                      </a:r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PU </a:t>
                      </a:r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ysRS</a:t>
                      </a:r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ysAD</a:t>
                      </a:r>
                      <a:endParaRPr lang="ko-KR" altLang="en-US" sz="14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RS </a:t>
                      </a:r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AD </a:t>
                      </a:r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LD </a:t>
                      </a:r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DD </a:t>
                      </a:r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</a:tr>
              <a:tr h="19545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 - CSD</a:t>
                      </a:r>
                      <a:endParaRPr lang="ko-KR" altLang="en-US" sz="14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endParaRPr lang="ko-KR" altLang="en-US" sz="14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</a:tr>
              <a:tr h="19545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 - HUD</a:t>
                      </a:r>
                      <a:endParaRPr lang="ko-KR" altLang="en-US" sz="14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ko-KR" altLang="en-US" sz="14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</a:tr>
              <a:tr h="19545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 - ADAS</a:t>
                      </a:r>
                      <a:endParaRPr lang="ko-KR" altLang="en-US" sz="14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endParaRPr lang="ko-KR" altLang="en-US" sz="14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18 integrations)</a:t>
                      </a:r>
                      <a:endParaRPr lang="ko-KR" altLang="en-US" sz="14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18 integrations)</a:t>
                      </a:r>
                      <a:endParaRPr lang="ko-KR" altLang="en-US" sz="14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</a:tr>
              <a:tr h="19545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 - AVN</a:t>
                      </a:r>
                      <a:endParaRPr lang="ko-KR" altLang="en-US" sz="14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ko-KR" altLang="en-US" sz="14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40 integrations)</a:t>
                      </a:r>
                      <a:endParaRPr lang="ko-KR" altLang="en-US" sz="14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0</a:t>
                      </a:r>
                      <a:endParaRPr lang="ko-KR" altLang="en-US" sz="14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2</a:t>
                      </a:r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</a:tr>
              <a:tr h="19545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 - Telematics</a:t>
                      </a:r>
                      <a:endParaRPr lang="ko-KR" altLang="en-US" sz="14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endParaRPr lang="ko-KR" altLang="en-US" sz="14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</a:t>
                      </a:r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  <a:endParaRPr lang="ko-KR" altLang="en-US" sz="14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2</a:t>
                      </a:r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67882" y="4897727"/>
            <a:ext cx="426751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* The number of documents in the table above is just an example.</a:t>
            </a:r>
            <a:endParaRPr lang="ko-KR" altLang="en-US" sz="105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56603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6177136" y="1614279"/>
            <a:ext cx="2543581" cy="2246769"/>
          </a:xfrm>
          <a:prstGeom prst="rect">
            <a:avLst/>
          </a:prstGeom>
          <a:solidFill>
            <a:srgbClr val="FFFFCC"/>
          </a:solidFill>
        </p:spPr>
        <p:txBody>
          <a:bodyPr wrap="none" rtlCol="0">
            <a:spAutoFit/>
          </a:bodyPr>
          <a:lstStyle/>
          <a:p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AD structure</a:t>
            </a:r>
            <a:r>
              <a:rPr lang="ko-KR" altLang="en-US" sz="1400" b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EA)</a:t>
            </a:r>
          </a:p>
          <a:p>
            <a:pPr marL="234950" indent="-234950">
              <a:buAutoNum type="arabicPeriod"/>
            </a:pP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ntroduction</a:t>
            </a:r>
          </a:p>
          <a:p>
            <a:pPr marL="209550" indent="-209550">
              <a:buAutoNum type="arabicPeriod"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rchitectural Drivers</a:t>
            </a:r>
          </a:p>
          <a:p>
            <a:pPr marL="209550" indent="-209550">
              <a:buAutoNum type="arabicPeriod"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W Context</a:t>
            </a:r>
          </a:p>
          <a:p>
            <a:pPr marL="209550" indent="-209550">
              <a:buAutoNum type="arabicPeriod"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W Architecture</a:t>
            </a:r>
          </a:p>
          <a:p>
            <a:pPr marL="209550" indent="-209550">
              <a:buAutoNum type="arabicPeriod"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esource Consumption</a:t>
            </a:r>
          </a:p>
          <a:p>
            <a:pPr marL="209550" indent="-209550">
              <a:buAutoNum type="arabicPeriod"/>
            </a:pPr>
            <a:r>
              <a:rPr lang="en-US" altLang="ko-KR" sz="1400" strike="sngStrike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teraction Design</a:t>
            </a:r>
          </a:p>
          <a:p>
            <a:pPr marL="209550" indent="-209550">
              <a:buAutoNum type="arabicPeriod"/>
            </a:pPr>
            <a:r>
              <a:rPr lang="en-US" altLang="ko-KR" sz="1400" strike="sngStrike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terface Design</a:t>
            </a:r>
          </a:p>
          <a:p>
            <a:pPr marL="209550" indent="-209550"/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8. QA Scenario / Alternatives</a:t>
            </a:r>
          </a:p>
          <a:p>
            <a:pPr marL="209550" indent="-209550"/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9. Future Extension</a:t>
            </a:r>
            <a:endParaRPr lang="ko-KR" altLang="en-US" sz="14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7</a:t>
            </a:r>
            <a:r>
              <a:rPr lang="en-US" altLang="ko-KR" dirty="0" smtClean="0"/>
              <a:t>.1 </a:t>
            </a:r>
            <a:r>
              <a:rPr lang="en-US" altLang="ko-KR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SW </a:t>
            </a:r>
            <a: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Structure Type </a:t>
            </a:r>
            <a:r>
              <a:rPr lang="en-US" altLang="ko-KR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A: CSD </a:t>
            </a:r>
            <a: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Example</a:t>
            </a:r>
            <a:b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</a:br>
            <a:r>
              <a:rPr lang="en-US" altLang="ko-KR" dirty="0" smtClean="0"/>
              <a:t> 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344488" y="714356"/>
            <a:ext cx="8894792" cy="626412"/>
          </a:xfrm>
        </p:spPr>
        <p:txBody>
          <a:bodyPr/>
          <a:lstStyle/>
          <a:p>
            <a:r>
              <a:rPr lang="en-US" altLang="ko-KR" dirty="0"/>
              <a:t>24 </a:t>
            </a:r>
            <a:r>
              <a:rPr lang="en-US" altLang="ko-KR" dirty="0" smtClean="0"/>
              <a:t>Classes </a:t>
            </a:r>
            <a:r>
              <a:rPr lang="en-US" altLang="ko-KR" dirty="0"/>
              <a:t>in 1 MCU</a:t>
            </a:r>
            <a:r>
              <a:rPr lang="en-US" altLang="ko-KR" dirty="0" smtClean="0"/>
              <a:t>.</a:t>
            </a:r>
          </a:p>
          <a:p>
            <a:r>
              <a:rPr lang="en-US" altLang="ko-KR" dirty="0" smtClean="0"/>
              <a:t>- Identify </a:t>
            </a:r>
            <a:r>
              <a:rPr lang="en-US" altLang="ko-KR" dirty="0"/>
              <a:t>24 classes in SAD and design dynamic design and algorithm in </a:t>
            </a:r>
            <a:r>
              <a:rPr lang="en-US" altLang="ko-KR" dirty="0" smtClean="0"/>
              <a:t>SDD.</a:t>
            </a:r>
            <a:endParaRPr lang="en-US" altLang="ko-KR" sz="1400" dirty="0" smtClean="0"/>
          </a:p>
          <a:p>
            <a:pPr>
              <a:buFontTx/>
              <a:buChar char="-"/>
            </a:pPr>
            <a:endParaRPr lang="ko-KR" altLang="en-US" sz="14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3F547D-40EB-4492-B403-DBC46F773230}" type="slidenum">
              <a:rPr lang="ko-KR" altLang="en-US" smtClean="0"/>
              <a:pPr>
                <a:defRPr/>
              </a:pPr>
              <a:t>10</a:t>
            </a:fld>
            <a:endParaRPr lang="ko-KR" alt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520" y="2147242"/>
            <a:ext cx="5373648" cy="4175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6180507" y="4076023"/>
            <a:ext cx="3547766" cy="2462213"/>
          </a:xfrm>
          <a:prstGeom prst="rect">
            <a:avLst/>
          </a:prstGeom>
          <a:solidFill>
            <a:srgbClr val="FFFFCC"/>
          </a:solidFill>
        </p:spPr>
        <p:txBody>
          <a:bodyPr wrap="none" rtlCol="0">
            <a:spAutoFit/>
          </a:bodyPr>
          <a:lstStyle/>
          <a:p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DD structure</a:t>
            </a:r>
            <a:r>
              <a:rPr lang="ko-KR" altLang="en-US" sz="1400" b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EA)</a:t>
            </a:r>
          </a:p>
          <a:p>
            <a:pPr marL="342900" indent="-342900">
              <a:buAutoNum type="arabicPeriod"/>
            </a:pP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ntroduction</a:t>
            </a:r>
          </a:p>
          <a:p>
            <a:pPr marL="342900" indent="-342900">
              <a:buAutoNum type="arabicPeriod"/>
            </a:pPr>
            <a:r>
              <a:rPr lang="en-US" altLang="ko-KR" sz="1400" strike="sngStrike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mponent Context </a:t>
            </a:r>
            <a:r>
              <a:rPr lang="en-US" altLang="ko-KR" sz="14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&gt; UC diagram</a:t>
            </a:r>
          </a:p>
          <a:p>
            <a:pPr marL="342900" indent="-342900">
              <a:buAutoNum type="arabicPeriod"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tatic Design</a:t>
            </a:r>
          </a:p>
          <a:p>
            <a:pPr marL="342900" indent="-342900">
              <a:buAutoNum type="arabicPeriod"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ynamic Design</a:t>
            </a:r>
          </a:p>
          <a:p>
            <a:pPr marL="342900" indent="-342900">
              <a:buAutoNum type="arabicPeriod"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lgorithm Design</a:t>
            </a:r>
          </a:p>
          <a:p>
            <a:r>
              <a:rPr lang="en-US" altLang="ko-KR" sz="14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.1 PBL</a:t>
            </a:r>
          </a:p>
          <a:p>
            <a:r>
              <a:rPr lang="en-US" altLang="ko-KR" sz="14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.2 APP</a:t>
            </a:r>
          </a:p>
          <a:p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</a:p>
          <a:p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6. Global Variables</a:t>
            </a:r>
          </a:p>
          <a:p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7. Design Alternatives</a:t>
            </a:r>
            <a:endParaRPr lang="ko-KR" altLang="en-US" sz="14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936776" y="1621829"/>
            <a:ext cx="13093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W Structure</a:t>
            </a:r>
            <a:endParaRPr lang="ko-KR" altLang="en-US" sz="1400" b="1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모서리가 둥근 사각형 설명선 8"/>
          <p:cNvSpPr/>
          <p:nvPr/>
        </p:nvSpPr>
        <p:spPr bwMode="auto">
          <a:xfrm>
            <a:off x="8049344" y="5205963"/>
            <a:ext cx="1800200" cy="599033"/>
          </a:xfrm>
          <a:prstGeom prst="wedgeRoundRectCallout">
            <a:avLst>
              <a:gd name="adj1" fmla="val -12762"/>
              <a:gd name="adj2" fmla="val -117907"/>
              <a:gd name="adj3" fmla="val 16667"/>
            </a:avLst>
          </a:prstGeom>
          <a:solidFill>
            <a:srgbClr val="FFFF00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latinLnBrk="0"/>
            <a:r>
              <a:rPr kumimoji="0" lang="en-US" altLang="ko-KR" sz="1200" dirty="0" smtClean="0">
                <a:latin typeface="맑은 고딕" pitchFamily="50" charset="-127"/>
                <a:ea typeface="맑은 고딕" pitchFamily="50" charset="-127"/>
              </a:rPr>
              <a:t>Identify design scope for each iteration</a:t>
            </a:r>
            <a:endParaRPr kumimoji="0"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자유형 9"/>
          <p:cNvSpPr/>
          <p:nvPr/>
        </p:nvSpPr>
        <p:spPr bwMode="auto">
          <a:xfrm>
            <a:off x="7805734" y="2678464"/>
            <a:ext cx="1304316" cy="2209125"/>
          </a:xfrm>
          <a:custGeom>
            <a:avLst/>
            <a:gdLst>
              <a:gd name="connsiteX0" fmla="*/ 485522 w 1304316"/>
              <a:gd name="connsiteY0" fmla="*/ 0 h 2209125"/>
              <a:gd name="connsiteX1" fmla="*/ 1294725 w 1304316"/>
              <a:gd name="connsiteY1" fmla="*/ 372233 h 2209125"/>
              <a:gd name="connsiteX2" fmla="*/ 0 w 1304316"/>
              <a:gd name="connsiteY2" fmla="*/ 2209125 h 2209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04316" h="2209125">
                <a:moveTo>
                  <a:pt x="485522" y="0"/>
                </a:moveTo>
                <a:cubicBezTo>
                  <a:pt x="930583" y="2022"/>
                  <a:pt x="1375645" y="4045"/>
                  <a:pt x="1294725" y="372233"/>
                </a:cubicBezTo>
                <a:cubicBezTo>
                  <a:pt x="1213805" y="740421"/>
                  <a:pt x="606902" y="1474773"/>
                  <a:pt x="0" y="2209125"/>
                </a:cubicBezTo>
              </a:path>
            </a:pathLst>
          </a:custGeom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rtlCol="0" anchor="ctr"/>
          <a:lstStyle/>
          <a:p>
            <a:pPr algn="ctr"/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065807" y="2780928"/>
            <a:ext cx="53091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euse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모서리가 둥근 사각형 설명선 12"/>
          <p:cNvSpPr/>
          <p:nvPr/>
        </p:nvSpPr>
        <p:spPr bwMode="auto">
          <a:xfrm>
            <a:off x="8150824" y="3027149"/>
            <a:ext cx="834624" cy="255213"/>
          </a:xfrm>
          <a:prstGeom prst="wedgeRoundRectCallout">
            <a:avLst>
              <a:gd name="adj1" fmla="val -71247"/>
              <a:gd name="adj2" fmla="val -1254"/>
              <a:gd name="adj3" fmla="val 16667"/>
            </a:avLst>
          </a:prstGeom>
          <a:solidFill>
            <a:srgbClr val="FFFF00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latinLnBrk="0"/>
            <a:r>
              <a:rPr kumimoji="0" lang="en-US" altLang="ko-KR" sz="1200" dirty="0" smtClean="0">
                <a:latin typeface="맑은 고딕" pitchFamily="50" charset="-127"/>
                <a:ea typeface="맑은 고딕" pitchFamily="50" charset="-127"/>
              </a:rPr>
              <a:t>Remove</a:t>
            </a:r>
            <a:endParaRPr kumimoji="0"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79155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6317781" y="1614279"/>
            <a:ext cx="2616422" cy="2246769"/>
          </a:xfrm>
          <a:prstGeom prst="rect">
            <a:avLst/>
          </a:prstGeom>
          <a:solidFill>
            <a:srgbClr val="FFFFCC"/>
          </a:solidFill>
        </p:spPr>
        <p:txBody>
          <a:bodyPr wrap="none" rtlCol="0">
            <a:spAutoFit/>
          </a:bodyPr>
          <a:lstStyle/>
          <a:p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AD structure (</a:t>
            </a:r>
            <a:r>
              <a:rPr lang="en-US" altLang="ko-KR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EA</a:t>
            </a:r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234950" indent="-234950">
              <a:buAutoNum type="arabicPeriod"/>
            </a:pP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ntroduction</a:t>
            </a:r>
          </a:p>
          <a:p>
            <a:pPr marL="209550" indent="-209550">
              <a:buAutoNum type="arabicPeriod"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rchitectural Drivers</a:t>
            </a:r>
          </a:p>
          <a:p>
            <a:pPr marL="209550" indent="-209550">
              <a:buAutoNum type="arabicPeriod"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W Context</a:t>
            </a:r>
          </a:p>
          <a:p>
            <a:pPr marL="209550" indent="-209550">
              <a:buAutoNum type="arabicPeriod"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W Architecture</a:t>
            </a:r>
          </a:p>
          <a:p>
            <a:pPr marL="209550" indent="-209550">
              <a:buAutoNum type="arabicPeriod"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esource Consumption</a:t>
            </a:r>
          </a:p>
          <a:p>
            <a:pPr marL="209550" indent="-209550">
              <a:buAutoNum type="arabicPeriod"/>
            </a:pPr>
            <a:r>
              <a:rPr lang="en-US" altLang="ko-KR" sz="1400" strike="sngStrike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teraction Design</a:t>
            </a:r>
          </a:p>
          <a:p>
            <a:pPr marL="209550" indent="-209550">
              <a:buAutoNum type="arabicPeriod"/>
            </a:pPr>
            <a:r>
              <a:rPr lang="en-US" altLang="ko-KR" sz="1400" strike="sngStrike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terface Design</a:t>
            </a:r>
          </a:p>
          <a:p>
            <a:pPr marL="209550" indent="-209550"/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8. QA Scenario / Alternatives</a:t>
            </a:r>
          </a:p>
          <a:p>
            <a:pPr marL="209550" indent="-209550"/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9. Future Extension</a:t>
            </a:r>
            <a:endParaRPr lang="ko-KR" altLang="en-US" sz="14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7</a:t>
            </a:r>
            <a:r>
              <a:rPr lang="en-US" altLang="ko-KR" dirty="0" smtClean="0"/>
              <a:t>.2 </a:t>
            </a:r>
            <a: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SW Structure Type </a:t>
            </a:r>
            <a:r>
              <a:rPr lang="en-US" altLang="ko-KR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B: HUD Example</a:t>
            </a:r>
            <a:r>
              <a:rPr lang="en-US" altLang="ko-KR" dirty="0" smtClean="0"/>
              <a:t> 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344488" y="714356"/>
            <a:ext cx="9289032" cy="626412"/>
          </a:xfrm>
        </p:spPr>
        <p:txBody>
          <a:bodyPr/>
          <a:lstStyle/>
          <a:p>
            <a:r>
              <a:rPr lang="en-US" altLang="ko-KR" dirty="0"/>
              <a:t>2 CPU, 2 </a:t>
            </a:r>
            <a:r>
              <a:rPr lang="en-US" altLang="ko-KR" dirty="0" smtClean="0"/>
              <a:t>SW Components</a:t>
            </a:r>
            <a:r>
              <a:rPr lang="en-US" altLang="ko-KR" dirty="0"/>
              <a:t>, </a:t>
            </a:r>
            <a:endParaRPr lang="en-US" altLang="ko-KR" dirty="0" smtClean="0"/>
          </a:p>
          <a:p>
            <a:pPr>
              <a:buFontTx/>
              <a:buChar char="-"/>
            </a:pPr>
            <a:r>
              <a:rPr lang="en-US" altLang="ko-KR" sz="1400" dirty="0"/>
              <a:t>Identify </a:t>
            </a:r>
            <a:r>
              <a:rPr lang="en-US" altLang="ko-KR" sz="1400" dirty="0" smtClean="0"/>
              <a:t>10+9 </a:t>
            </a:r>
            <a:r>
              <a:rPr lang="en-US" altLang="ko-KR" sz="1400" dirty="0"/>
              <a:t>classes in SAD and design dynamic design and algorithm </a:t>
            </a:r>
            <a:r>
              <a:rPr lang="en-US" altLang="ko-KR" sz="1400" dirty="0" smtClean="0"/>
              <a:t>for two components in one SDD.</a:t>
            </a:r>
            <a:endParaRPr lang="ko-KR" altLang="en-US" sz="140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3F547D-40EB-4492-B403-DBC46F773230}" type="slidenum">
              <a:rPr lang="ko-KR" altLang="en-US" smtClean="0"/>
              <a:pPr>
                <a:defRPr/>
              </a:pPr>
              <a:t>11</a:t>
            </a:fld>
            <a:endParaRPr lang="ko-KR" alt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6321152" y="4076023"/>
            <a:ext cx="3528392" cy="2462213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DD </a:t>
            </a:r>
            <a:r>
              <a:rPr lang="en-US" altLang="ko-KR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tructure </a:t>
            </a:r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EA)</a:t>
            </a:r>
          </a:p>
          <a:p>
            <a:pPr marL="234950" indent="-234950">
              <a:buAutoNum type="arabicPeriod"/>
            </a:pP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ntroduction</a:t>
            </a:r>
          </a:p>
          <a:p>
            <a:pPr marL="234950" indent="-234950">
              <a:buAutoNum type="arabicPeriod"/>
            </a:pPr>
            <a:r>
              <a:rPr lang="en-US" altLang="ko-KR" sz="1400" strike="sngStrike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mponent </a:t>
            </a:r>
            <a:r>
              <a:rPr lang="en-US" altLang="ko-KR" sz="1400" strike="sngStrike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xt </a:t>
            </a:r>
            <a:r>
              <a:rPr lang="en-US" altLang="ko-KR" sz="140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&gt; </a:t>
            </a:r>
            <a:r>
              <a:rPr lang="en-US" altLang="ko-KR" sz="14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UC </a:t>
            </a:r>
            <a:r>
              <a:rPr lang="en-US" altLang="ko-KR" sz="140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iagram </a:t>
            </a:r>
            <a:endParaRPr lang="en-US" altLang="ko-KR" sz="1400" dirty="0" smtClean="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34950" indent="-234950">
              <a:buAutoNum type="arabicPeriod"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tatic Design</a:t>
            </a:r>
          </a:p>
          <a:p>
            <a:pPr marL="234950" indent="-234950">
              <a:buAutoNum type="arabicPeriod"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ynamic Design</a:t>
            </a:r>
          </a:p>
          <a:p>
            <a:pPr marL="234950" indent="-234950">
              <a:buAutoNum type="arabicPeriod"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lgorithm Design</a:t>
            </a:r>
          </a:p>
          <a:p>
            <a:r>
              <a:rPr lang="en-US" altLang="ko-KR" sz="14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.1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LD</a:t>
            </a:r>
          </a:p>
          <a:p>
            <a:r>
              <a:rPr lang="en-US" altLang="ko-KR" sz="14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.2 CHUD</a:t>
            </a:r>
          </a:p>
          <a:p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</a:p>
          <a:p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6. Global Variables</a:t>
            </a:r>
          </a:p>
          <a:p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7. Design 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lternatives</a:t>
            </a:r>
            <a:endParaRPr lang="ko-KR" altLang="en-US" sz="14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792760" y="1621829"/>
            <a:ext cx="130933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u="sng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W Structure</a:t>
            </a:r>
            <a:endParaRPr lang="ko-KR" altLang="en-US" sz="1400" b="1" u="sng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endParaRPr lang="ko-KR" altLang="en-US" sz="1400" b="1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196" y="2187582"/>
            <a:ext cx="5925948" cy="3939657"/>
          </a:xfrm>
          <a:prstGeom prst="rect">
            <a:avLst/>
          </a:prstGeom>
        </p:spPr>
      </p:pic>
      <p:sp>
        <p:nvSpPr>
          <p:cNvPr id="12" name="자유형 11"/>
          <p:cNvSpPr/>
          <p:nvPr/>
        </p:nvSpPr>
        <p:spPr bwMode="auto">
          <a:xfrm>
            <a:off x="7946379" y="2678464"/>
            <a:ext cx="1304316" cy="2209125"/>
          </a:xfrm>
          <a:custGeom>
            <a:avLst/>
            <a:gdLst>
              <a:gd name="connsiteX0" fmla="*/ 485522 w 1304316"/>
              <a:gd name="connsiteY0" fmla="*/ 0 h 2209125"/>
              <a:gd name="connsiteX1" fmla="*/ 1294725 w 1304316"/>
              <a:gd name="connsiteY1" fmla="*/ 372233 h 2209125"/>
              <a:gd name="connsiteX2" fmla="*/ 0 w 1304316"/>
              <a:gd name="connsiteY2" fmla="*/ 2209125 h 2209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04316" h="2209125">
                <a:moveTo>
                  <a:pt x="485522" y="0"/>
                </a:moveTo>
                <a:cubicBezTo>
                  <a:pt x="930583" y="2022"/>
                  <a:pt x="1375645" y="4045"/>
                  <a:pt x="1294725" y="372233"/>
                </a:cubicBezTo>
                <a:cubicBezTo>
                  <a:pt x="1213805" y="740421"/>
                  <a:pt x="606902" y="1474773"/>
                  <a:pt x="0" y="2209125"/>
                </a:cubicBezTo>
              </a:path>
            </a:pathLst>
          </a:custGeom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rtlCol="0" anchor="ctr"/>
          <a:lstStyle/>
          <a:p>
            <a:pPr algn="ctr"/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9273480" y="2780928"/>
            <a:ext cx="53091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euse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모서리가 둥근 사각형 설명선 13"/>
          <p:cNvSpPr/>
          <p:nvPr/>
        </p:nvSpPr>
        <p:spPr bwMode="auto">
          <a:xfrm>
            <a:off x="8409261" y="5205963"/>
            <a:ext cx="1417429" cy="599033"/>
          </a:xfrm>
          <a:prstGeom prst="wedgeRoundRectCallout">
            <a:avLst>
              <a:gd name="adj1" fmla="val -12762"/>
              <a:gd name="adj2" fmla="val -117907"/>
              <a:gd name="adj3" fmla="val 16667"/>
            </a:avLst>
          </a:prstGeom>
          <a:solidFill>
            <a:srgbClr val="FFFF00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r>
              <a:rPr kumimoji="0" lang="en-US" altLang="ko-KR" sz="1200" dirty="0">
                <a:latin typeface="맑은 고딕" pitchFamily="50" charset="-127"/>
                <a:ea typeface="맑은 고딕" pitchFamily="50" charset="-127"/>
              </a:rPr>
              <a:t>Identify design scope for each </a:t>
            </a:r>
            <a:r>
              <a:rPr kumimoji="0" lang="en-US" altLang="ko-KR" sz="1200" dirty="0" smtClean="0">
                <a:latin typeface="맑은 고딕" pitchFamily="50" charset="-127"/>
                <a:ea typeface="맑은 고딕" pitchFamily="50" charset="-127"/>
              </a:rPr>
              <a:t>iteration</a:t>
            </a:r>
            <a:endParaRPr kumimoji="0" lang="ko-KR" altLang="en-US" sz="12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" name="모서리가 둥근 사각형 설명선 14"/>
          <p:cNvSpPr/>
          <p:nvPr/>
        </p:nvSpPr>
        <p:spPr bwMode="auto">
          <a:xfrm>
            <a:off x="8338306" y="3048415"/>
            <a:ext cx="791158" cy="255213"/>
          </a:xfrm>
          <a:prstGeom prst="wedgeRoundRectCallout">
            <a:avLst>
              <a:gd name="adj1" fmla="val -89634"/>
              <a:gd name="adj2" fmla="val -1254"/>
              <a:gd name="adj3" fmla="val 16667"/>
            </a:avLst>
          </a:prstGeom>
          <a:solidFill>
            <a:srgbClr val="FFFF00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latinLnBrk="0"/>
            <a:r>
              <a:rPr kumimoji="0" lang="en-US" altLang="ko-KR" sz="1200" dirty="0" smtClean="0">
                <a:latin typeface="맑은 고딕" pitchFamily="50" charset="-127"/>
                <a:ea typeface="맑은 고딕" pitchFamily="50" charset="-127"/>
              </a:rPr>
              <a:t>Remove</a:t>
            </a:r>
            <a:endParaRPr kumimoji="0"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0884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7.3 </a:t>
            </a:r>
            <a: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SW Structure Type </a:t>
            </a:r>
            <a:r>
              <a:rPr lang="en-US" altLang="ko-KR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C: ADAS Example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344488" y="717635"/>
            <a:ext cx="6480720" cy="1127189"/>
          </a:xfrm>
        </p:spPr>
        <p:txBody>
          <a:bodyPr/>
          <a:lstStyle/>
          <a:p>
            <a:r>
              <a:rPr lang="en-US" altLang="ko-KR" dirty="0" smtClean="0"/>
              <a:t>2</a:t>
            </a:r>
            <a:r>
              <a:rPr lang="ko-KR" altLang="en-US" smtClean="0"/>
              <a:t> </a:t>
            </a:r>
            <a:r>
              <a:rPr lang="en-US" altLang="ko-KR" dirty="0" smtClean="0"/>
              <a:t>CPU,</a:t>
            </a:r>
            <a:r>
              <a:rPr lang="ko-KR" altLang="en-US" smtClean="0"/>
              <a:t> </a:t>
            </a:r>
            <a:r>
              <a:rPr lang="en-US" altLang="ko-KR" dirty="0" err="1" smtClean="0"/>
              <a:t>Component+Class</a:t>
            </a:r>
            <a:r>
              <a:rPr lang="ko-KR" altLang="en-US" smtClean="0"/>
              <a:t> </a:t>
            </a:r>
            <a:r>
              <a:rPr lang="en-US" altLang="ko-KR" dirty="0" smtClean="0"/>
              <a:t>Type</a:t>
            </a:r>
          </a:p>
          <a:p>
            <a:pPr>
              <a:buFontTx/>
              <a:buChar char="-"/>
            </a:pPr>
            <a:r>
              <a:rPr lang="en-US" altLang="ko-KR" sz="1400" dirty="0" smtClean="0"/>
              <a:t>Identify 24 classes in SAD, </a:t>
            </a:r>
          </a:p>
          <a:p>
            <a:pPr>
              <a:buFontTx/>
              <a:buChar char="-"/>
            </a:pPr>
            <a:r>
              <a:rPr lang="en-US" altLang="ko-KR" sz="1400" dirty="0" smtClean="0"/>
              <a:t>Design Interface between components for each feature in HLD (Creation by feature /Integration management), </a:t>
            </a:r>
          </a:p>
          <a:p>
            <a:pPr>
              <a:buFontTx/>
              <a:buChar char="-"/>
            </a:pPr>
            <a:r>
              <a:rPr lang="en-US" altLang="ko-KR" sz="1400" dirty="0" smtClean="0"/>
              <a:t>Design dynamic behavior and algorithm (SDD for each component other than one MCU)</a:t>
            </a:r>
            <a:endParaRPr lang="ko-KR" altLang="en-US" sz="140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3F547D-40EB-4492-B403-DBC46F773230}" type="slidenum">
              <a:rPr lang="ko-KR" altLang="en-US" smtClean="0"/>
              <a:pPr>
                <a:defRPr/>
              </a:pPr>
              <a:t>12</a:t>
            </a:fld>
            <a:endParaRPr lang="ko-KR" alt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284990" y="836712"/>
            <a:ext cx="2204514" cy="1969770"/>
          </a:xfrm>
          <a:prstGeom prst="rect">
            <a:avLst/>
          </a:prstGeom>
          <a:solidFill>
            <a:srgbClr val="FFFFCC"/>
          </a:solidFill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AD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tructure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34950" indent="-234950">
              <a:buAutoNum type="arabicPeriod"/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ntroduction</a:t>
            </a:r>
          </a:p>
          <a:p>
            <a:pPr marL="209550" indent="-209550">
              <a:buAutoNum type="arabicPeriod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rchitectural Drivers</a:t>
            </a:r>
          </a:p>
          <a:p>
            <a:pPr marL="209550" indent="-209550">
              <a:buAutoNum type="arabicPeriod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W Context</a:t>
            </a:r>
          </a:p>
          <a:p>
            <a:pPr marL="209550" indent="-209550">
              <a:buAutoNum type="arabicPeriod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W Architecture</a:t>
            </a:r>
          </a:p>
          <a:p>
            <a:pPr marL="209550" indent="-209550">
              <a:buAutoNum type="arabicPeriod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esource Consumption</a:t>
            </a:r>
          </a:p>
          <a:p>
            <a:pPr marL="209550" indent="-209550">
              <a:buAutoNum type="arabicPeriod"/>
            </a:pPr>
            <a:r>
              <a:rPr lang="en-US" altLang="ko-KR" sz="1200" strike="sngStrike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teraction Design</a:t>
            </a:r>
          </a:p>
          <a:p>
            <a:pPr marL="209550" indent="-209550">
              <a:buAutoNum type="arabicPeriod"/>
            </a:pPr>
            <a:r>
              <a:rPr lang="en-US" altLang="ko-KR" sz="1200" strike="sngStrike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terface Design</a:t>
            </a:r>
          </a:p>
          <a:p>
            <a:pPr marL="209550" indent="-209550"/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8. QA Scenario / Alternatives</a:t>
            </a:r>
          </a:p>
          <a:p>
            <a:pPr marL="209550" indent="-209550"/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9. Future Extension</a:t>
            </a:r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177136" y="2808218"/>
            <a:ext cx="2948499" cy="2523768"/>
          </a:xfrm>
          <a:prstGeom prst="rect">
            <a:avLst/>
          </a:prstGeom>
          <a:solidFill>
            <a:srgbClr val="FFFFCC"/>
          </a:solidFill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HLD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tructure 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EA)</a:t>
            </a:r>
          </a:p>
          <a:p>
            <a:pPr marL="234950" indent="-234950">
              <a:buAutoNum type="arabicPeriod"/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ntroduction</a:t>
            </a:r>
          </a:p>
          <a:p>
            <a:pPr marL="230188" indent="-230188">
              <a:buAutoNum type="arabicPeriod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Feature list</a:t>
            </a:r>
            <a:r>
              <a:rPr lang="ko-KR" altLang="en-US" sz="120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cenario or UC)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 Component structure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 Interaction Design</a:t>
            </a:r>
          </a:p>
          <a:p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1 Feature#1</a:t>
            </a:r>
          </a:p>
          <a:p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en-US" altLang="ko-KR" sz="12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eature context#1</a:t>
            </a:r>
          </a:p>
          <a:p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1.1 SD for Scenario#1 or UC#1</a:t>
            </a: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.2 Feature#n</a:t>
            </a: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5. Interface Design</a:t>
            </a:r>
          </a:p>
          <a:p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1 Feature#1</a:t>
            </a:r>
          </a:p>
          <a:p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1.1 Interfaces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for Scenario#1 or UC#1</a:t>
            </a: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969224" y="5157192"/>
            <a:ext cx="2869312" cy="1569660"/>
          </a:xfrm>
          <a:prstGeom prst="rect">
            <a:avLst/>
          </a:prstGeom>
          <a:solidFill>
            <a:srgbClr val="FFFFCC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DD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tructure 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for each component)</a:t>
            </a:r>
          </a:p>
          <a:p>
            <a:pPr marL="234950" indent="-234950">
              <a:buAutoNum type="arabicPeriod"/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ntroduction</a:t>
            </a:r>
          </a:p>
          <a:p>
            <a:pPr marL="211138" indent="-211138">
              <a:buAutoNum type="arabicPeriod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omponent Context</a:t>
            </a:r>
          </a:p>
          <a:p>
            <a:pPr marL="211138" indent="-211138">
              <a:buAutoNum type="arabicPeriod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tatic Design</a:t>
            </a:r>
          </a:p>
          <a:p>
            <a:pPr marL="211138" indent="-211138">
              <a:buAutoNum type="arabicPeriod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ynamic Design</a:t>
            </a:r>
          </a:p>
          <a:p>
            <a:pPr marL="211138" indent="-211138">
              <a:buAutoNum type="arabicPeriod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lgorithm Design</a:t>
            </a: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6. Global Variables</a:t>
            </a: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7. Design Alternatives</a:t>
            </a:r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자유형 9"/>
          <p:cNvSpPr/>
          <p:nvPr/>
        </p:nvSpPr>
        <p:spPr bwMode="auto">
          <a:xfrm>
            <a:off x="6601968" y="2190307"/>
            <a:ext cx="606906" cy="627321"/>
          </a:xfrm>
          <a:custGeom>
            <a:avLst/>
            <a:gdLst>
              <a:gd name="connsiteX0" fmla="*/ 606906 w 606906"/>
              <a:gd name="connsiteY0" fmla="*/ 0 h 627321"/>
              <a:gd name="connsiteX1" fmla="*/ 96544 w 606906"/>
              <a:gd name="connsiteY1" fmla="*/ 127591 h 627321"/>
              <a:gd name="connsiteX2" fmla="*/ 851 w 606906"/>
              <a:gd name="connsiteY2" fmla="*/ 627321 h 6273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6906" h="627321">
                <a:moveTo>
                  <a:pt x="606906" y="0"/>
                </a:moveTo>
                <a:cubicBezTo>
                  <a:pt x="402229" y="11519"/>
                  <a:pt x="197553" y="23038"/>
                  <a:pt x="96544" y="127591"/>
                </a:cubicBezTo>
                <a:cubicBezTo>
                  <a:pt x="-4465" y="232144"/>
                  <a:pt x="-1807" y="429732"/>
                  <a:pt x="851" y="627321"/>
                </a:cubicBezTo>
              </a:path>
            </a:pathLst>
          </a:custGeom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TextBox 11"/>
          <p:cNvSpPr txBox="1"/>
          <p:nvPr/>
        </p:nvSpPr>
        <p:spPr>
          <a:xfrm>
            <a:off x="6305279" y="2190307"/>
            <a:ext cx="715260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eparate</a:t>
            </a:r>
            <a:endParaRPr lang="ko-KR" altLang="en-US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9345488" y="1803272"/>
            <a:ext cx="53091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euse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자유형 13"/>
          <p:cNvSpPr/>
          <p:nvPr/>
        </p:nvSpPr>
        <p:spPr bwMode="auto">
          <a:xfrm>
            <a:off x="7995684" y="1704561"/>
            <a:ext cx="1340349" cy="1814816"/>
          </a:xfrm>
          <a:custGeom>
            <a:avLst/>
            <a:gdLst>
              <a:gd name="connsiteX0" fmla="*/ 754911 w 1340349"/>
              <a:gd name="connsiteY0" fmla="*/ 7281 h 1814816"/>
              <a:gd name="connsiteX1" fmla="*/ 1339702 w 1340349"/>
              <a:gd name="connsiteY1" fmla="*/ 219932 h 1814816"/>
              <a:gd name="connsiteX2" fmla="*/ 850604 w 1340349"/>
              <a:gd name="connsiteY2" fmla="*/ 1463941 h 1814816"/>
              <a:gd name="connsiteX3" fmla="*/ 0 w 1340349"/>
              <a:gd name="connsiteY3" fmla="*/ 1814816 h 1814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40349" h="1814816">
                <a:moveTo>
                  <a:pt x="754911" y="7281"/>
                </a:moveTo>
                <a:cubicBezTo>
                  <a:pt x="1039332" y="-7782"/>
                  <a:pt x="1323753" y="-22845"/>
                  <a:pt x="1339702" y="219932"/>
                </a:cubicBezTo>
                <a:cubicBezTo>
                  <a:pt x="1355651" y="462709"/>
                  <a:pt x="1073888" y="1198127"/>
                  <a:pt x="850604" y="1463941"/>
                </a:cubicBezTo>
                <a:cubicBezTo>
                  <a:pt x="627320" y="1729755"/>
                  <a:pt x="313660" y="1772285"/>
                  <a:pt x="0" y="1814816"/>
                </a:cubicBezTo>
              </a:path>
            </a:pathLst>
          </a:custGeom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5" name="그림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224" y="2605615"/>
            <a:ext cx="5817096" cy="3415673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792760" y="2197893"/>
            <a:ext cx="13093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W Structure</a:t>
            </a:r>
            <a:endParaRPr lang="ko-KR" altLang="en-US" sz="1400" b="1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88224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7.4 </a:t>
            </a:r>
            <a: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SW Structure Type </a:t>
            </a:r>
            <a:r>
              <a:rPr lang="en-US" altLang="ko-KR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D: AVN Example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344488" y="714356"/>
            <a:ext cx="8894792" cy="626412"/>
          </a:xfrm>
        </p:spPr>
        <p:txBody>
          <a:bodyPr/>
          <a:lstStyle/>
          <a:p>
            <a:r>
              <a:rPr lang="en-US" altLang="ko-KR" dirty="0" smtClean="0"/>
              <a:t>2</a:t>
            </a:r>
            <a:r>
              <a:rPr lang="ko-KR" altLang="en-US" smtClean="0"/>
              <a:t> </a:t>
            </a:r>
            <a:r>
              <a:rPr lang="en-US" altLang="ko-KR" dirty="0" smtClean="0"/>
              <a:t>CPU, 393</a:t>
            </a:r>
            <a:r>
              <a:rPr lang="ko-KR" altLang="en-US" smtClean="0"/>
              <a:t> </a:t>
            </a:r>
            <a:r>
              <a:rPr lang="en-US" altLang="ko-KR" dirty="0" smtClean="0"/>
              <a:t>Use </a:t>
            </a:r>
            <a:r>
              <a:rPr lang="en-US" altLang="ko-KR" dirty="0"/>
              <a:t>C</a:t>
            </a:r>
            <a:r>
              <a:rPr lang="en-US" altLang="ko-KR" dirty="0" smtClean="0"/>
              <a:t>ases</a:t>
            </a:r>
          </a:p>
          <a:p>
            <a:pPr marL="285750" indent="-285750">
              <a:buFontTx/>
              <a:buChar char="-"/>
            </a:pPr>
            <a:r>
              <a:rPr lang="en-US" altLang="ko-KR" sz="1400" dirty="0" smtClean="0"/>
              <a:t>Identify whole components in SAD. Create </a:t>
            </a:r>
            <a:r>
              <a:rPr lang="en-US" altLang="ko-KR" sz="1400" dirty="0"/>
              <a:t>HLD for each </a:t>
            </a:r>
            <a:r>
              <a:rPr lang="en-US" altLang="ko-KR" sz="1400" dirty="0" smtClean="0"/>
              <a:t>feature.</a:t>
            </a:r>
            <a:endParaRPr lang="ko-KR" altLang="en-US" sz="1400"/>
          </a:p>
          <a:p>
            <a:pPr marL="285750" indent="-285750">
              <a:buFontTx/>
              <a:buChar char="-"/>
            </a:pPr>
            <a:r>
              <a:rPr lang="en-US" altLang="ko-KR" sz="1400" dirty="0" smtClean="0"/>
              <a:t>Create SDD for each component.</a:t>
            </a:r>
          </a:p>
          <a:p>
            <a:pPr marL="0" indent="0"/>
            <a:endParaRPr lang="ko-KR" altLang="en-US" sz="14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3F547D-40EB-4492-B403-DBC46F773230}" type="slidenum">
              <a:rPr lang="ko-KR" altLang="en-US" smtClean="0"/>
              <a:pPr>
                <a:defRPr/>
              </a:pPr>
              <a:t>13</a:t>
            </a:fld>
            <a:endParaRPr lang="ko-KR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792760" y="1825079"/>
            <a:ext cx="13093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W Structure</a:t>
            </a:r>
            <a:endParaRPr lang="ko-KR" altLang="en-US" sz="1400" b="1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0" name="Picture 4" descr="http://collab.lge.com/main/download/attachments/400648613/C%26C%20View.png?version=5&amp;modificationDate=1440990659000&amp;api=v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504" y="2243677"/>
            <a:ext cx="5078917" cy="3664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5867539" y="2808218"/>
            <a:ext cx="2829877" cy="2308324"/>
          </a:xfrm>
          <a:prstGeom prst="rect">
            <a:avLst/>
          </a:prstGeom>
          <a:solidFill>
            <a:srgbClr val="FFFFCC"/>
          </a:solidFill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HLD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tructure</a:t>
            </a:r>
            <a:r>
              <a:rPr lang="ko-KR" altLang="en-US" sz="1200" b="1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for each feature)</a:t>
            </a:r>
          </a:p>
          <a:p>
            <a:pPr marL="234950" indent="-234950">
              <a:buAutoNum type="arabicPeriod"/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ntroduction</a:t>
            </a:r>
          </a:p>
          <a:p>
            <a:r>
              <a:rPr lang="en-US" altLang="ko-KR" sz="1200" b="1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. Function list</a:t>
            </a:r>
          </a:p>
          <a:p>
            <a:r>
              <a:rPr lang="en-US" altLang="ko-KR" sz="1200" b="1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. Feature Context</a:t>
            </a:r>
            <a:endParaRPr lang="en-US" altLang="ko-KR" sz="1200" b="1" dirty="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 Interaction Design</a:t>
            </a:r>
          </a:p>
          <a:p>
            <a:r>
              <a:rPr lang="en-US" altLang="ko-KR" sz="1200" b="1" strike="sngStrike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1 Feature#1</a:t>
            </a:r>
            <a:endParaRPr lang="en-US" altLang="ko-KR" sz="1200" b="1" dirty="0" smtClean="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.1 SD for Scenario#1 or UC#1</a:t>
            </a: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 Interface Design</a:t>
            </a:r>
          </a:p>
          <a:p>
            <a:r>
              <a:rPr lang="en-US" altLang="ko-KR" sz="1200" b="1" strike="sngStrike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lang="en-US" altLang="ko-KR" sz="1200" b="1" strike="sngStrike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1 Feature#1</a:t>
            </a: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5.1 Interfaces for Scenario#1 or UC#1</a:t>
            </a: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969224" y="5099700"/>
            <a:ext cx="2869312" cy="1569660"/>
          </a:xfrm>
          <a:prstGeom prst="rect">
            <a:avLst/>
          </a:prstGeom>
          <a:solidFill>
            <a:srgbClr val="FFFFCC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DD structure</a:t>
            </a:r>
            <a:r>
              <a:rPr lang="ko-KR" altLang="en-US" sz="1200" b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for each component)</a:t>
            </a:r>
          </a:p>
          <a:p>
            <a:pPr marL="234950" indent="-234950">
              <a:buAutoNum type="arabicPeriod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ntroduction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11138" indent="-211138">
              <a:buAutoNum type="arabicPeriod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omponent Context</a:t>
            </a:r>
          </a:p>
          <a:p>
            <a:pPr marL="211138" indent="-211138">
              <a:buAutoNum type="arabicPeriod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tatic Design</a:t>
            </a:r>
          </a:p>
          <a:p>
            <a:pPr marL="211138" indent="-211138">
              <a:buAutoNum type="arabicPeriod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ynamic Design</a:t>
            </a:r>
          </a:p>
          <a:p>
            <a:pPr marL="211138" indent="-211138">
              <a:buAutoNum type="arabicPeriod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lgorithm Design</a:t>
            </a: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6. Global Variables</a:t>
            </a:r>
          </a:p>
          <a:p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7. Design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lternatives</a:t>
            </a:r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045115" y="841936"/>
            <a:ext cx="2204514" cy="1938992"/>
          </a:xfrm>
          <a:prstGeom prst="rect">
            <a:avLst/>
          </a:prstGeom>
          <a:solidFill>
            <a:srgbClr val="FFFFCC"/>
          </a:solidFill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AD structure</a:t>
            </a:r>
            <a:r>
              <a:rPr lang="ko-KR" altLang="en-US" sz="1200" b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EA)</a:t>
            </a:r>
          </a:p>
          <a:p>
            <a:pPr marL="234950" indent="-234950">
              <a:buAutoNum type="arabicPeriod"/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ntroduction</a:t>
            </a:r>
          </a:p>
          <a:p>
            <a:pPr marL="209550" indent="-209550">
              <a:buAutoNum type="arabicPeriod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rchitectural Drivers</a:t>
            </a:r>
          </a:p>
          <a:p>
            <a:pPr marL="209550" indent="-209550">
              <a:buAutoNum type="arabicPeriod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W Context</a:t>
            </a:r>
          </a:p>
          <a:p>
            <a:pPr marL="209550" indent="-209550">
              <a:buAutoNum type="arabicPeriod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W Architecture</a:t>
            </a:r>
          </a:p>
          <a:p>
            <a:pPr marL="209550" indent="-209550">
              <a:buAutoNum type="arabicPeriod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esource Consumption</a:t>
            </a:r>
          </a:p>
          <a:p>
            <a:pPr marL="209550" indent="-209550">
              <a:buAutoNum type="arabicPeriod"/>
            </a:pPr>
            <a:r>
              <a:rPr lang="en-US" altLang="ko-KR" sz="1200" strike="sngStrike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teraction Design</a:t>
            </a:r>
          </a:p>
          <a:p>
            <a:pPr marL="209550" indent="-209550">
              <a:buAutoNum type="arabicPeriod"/>
            </a:pPr>
            <a:r>
              <a:rPr lang="en-US" altLang="ko-KR" sz="1200" strike="sngStrike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terface Design</a:t>
            </a:r>
          </a:p>
          <a:p>
            <a:pPr marL="209550" indent="-209550"/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8. QA Scenario / Alternatives</a:t>
            </a:r>
          </a:p>
          <a:p>
            <a:pPr marL="209550" indent="-209550"/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9. Future Extension</a:t>
            </a:r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자유형 12"/>
          <p:cNvSpPr/>
          <p:nvPr/>
        </p:nvSpPr>
        <p:spPr bwMode="auto">
          <a:xfrm>
            <a:off x="6474372" y="2190307"/>
            <a:ext cx="606906" cy="627321"/>
          </a:xfrm>
          <a:custGeom>
            <a:avLst/>
            <a:gdLst>
              <a:gd name="connsiteX0" fmla="*/ 606906 w 606906"/>
              <a:gd name="connsiteY0" fmla="*/ 0 h 627321"/>
              <a:gd name="connsiteX1" fmla="*/ 96544 w 606906"/>
              <a:gd name="connsiteY1" fmla="*/ 127591 h 627321"/>
              <a:gd name="connsiteX2" fmla="*/ 851 w 606906"/>
              <a:gd name="connsiteY2" fmla="*/ 627321 h 6273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6906" h="627321">
                <a:moveTo>
                  <a:pt x="606906" y="0"/>
                </a:moveTo>
                <a:cubicBezTo>
                  <a:pt x="402229" y="11519"/>
                  <a:pt x="197553" y="23038"/>
                  <a:pt x="96544" y="127591"/>
                </a:cubicBezTo>
                <a:cubicBezTo>
                  <a:pt x="-4465" y="232144"/>
                  <a:pt x="-1807" y="429732"/>
                  <a:pt x="851" y="627321"/>
                </a:cubicBezTo>
              </a:path>
            </a:pathLst>
          </a:custGeom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rtlCol="0" anchor="ctr"/>
          <a:lstStyle/>
          <a:p>
            <a:pPr algn="ctr"/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177683" y="2190307"/>
            <a:ext cx="715260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eparate</a:t>
            </a:r>
            <a:endParaRPr lang="ko-KR" altLang="en-US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66943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7</a:t>
            </a:r>
            <a:r>
              <a:rPr lang="en-US" altLang="ko-KR" dirty="0" smtClean="0"/>
              <a:t>.5 </a:t>
            </a:r>
            <a: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SW Structure Type </a:t>
            </a:r>
            <a:r>
              <a:rPr lang="en-US" altLang="ko-KR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E: Telematics Example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344488" y="714356"/>
            <a:ext cx="8894792" cy="626412"/>
          </a:xfrm>
        </p:spPr>
        <p:txBody>
          <a:bodyPr/>
          <a:lstStyle/>
          <a:p>
            <a:r>
              <a:rPr lang="en-US" altLang="ko-KR" dirty="0" smtClean="0"/>
              <a:t>3</a:t>
            </a:r>
            <a:r>
              <a:rPr lang="ko-KR" altLang="en-US" smtClean="0"/>
              <a:t> </a:t>
            </a:r>
            <a:r>
              <a:rPr lang="en-US" altLang="ko-KR" dirty="0" smtClean="0"/>
              <a:t>CPU, 10</a:t>
            </a:r>
            <a:r>
              <a:rPr lang="ko-KR" altLang="en-US" smtClean="0"/>
              <a:t> </a:t>
            </a:r>
            <a:r>
              <a:rPr lang="en-US" altLang="ko-KR" dirty="0" smtClean="0"/>
              <a:t>Features.</a:t>
            </a:r>
          </a:p>
          <a:p>
            <a:pPr marL="285750" indent="-285750">
              <a:buFontTx/>
              <a:buChar char="-"/>
            </a:pPr>
            <a:r>
              <a:rPr lang="en-US" altLang="ko-KR" sz="1400" dirty="0" smtClean="0"/>
              <a:t>Identify components </a:t>
            </a:r>
            <a:r>
              <a:rPr lang="en-US" altLang="ko-KR" sz="1400" dirty="0"/>
              <a:t>in SAD. Create HLD for each feature.</a:t>
            </a:r>
            <a:endParaRPr lang="ko-KR" altLang="en-US" sz="1400"/>
          </a:p>
          <a:p>
            <a:pPr marL="285750" indent="-285750">
              <a:buFontTx/>
              <a:buChar char="-"/>
            </a:pPr>
            <a:r>
              <a:rPr lang="en-US" altLang="ko-KR" sz="1400" dirty="0"/>
              <a:t>Create SDD for each </a:t>
            </a:r>
            <a:r>
              <a:rPr lang="en-US" altLang="ko-KR" sz="1400" dirty="0" smtClean="0"/>
              <a:t>component.</a:t>
            </a:r>
            <a:endParaRPr lang="ko-KR" altLang="en-US" sz="140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3F547D-40EB-4492-B403-DBC46F773230}" type="slidenum">
              <a:rPr lang="ko-KR" altLang="en-US" smtClean="0"/>
              <a:pPr>
                <a:defRPr/>
              </a:pPr>
              <a:t>14</a:t>
            </a:fld>
            <a:endParaRPr lang="ko-KR" altLang="en-US" dirty="0"/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496" y="2050683"/>
            <a:ext cx="4680520" cy="4111617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5313040" y="2776860"/>
            <a:ext cx="3038396" cy="2308324"/>
          </a:xfrm>
          <a:prstGeom prst="rect">
            <a:avLst/>
          </a:prstGeom>
          <a:solidFill>
            <a:srgbClr val="FFFFCC"/>
          </a:solidFill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HLD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tructure (10EA, for each 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feature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209550" indent="-209550">
              <a:buFontTx/>
              <a:buAutoNum type="arabicPeriod"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ntroduction</a:t>
            </a:r>
          </a:p>
          <a:p>
            <a:r>
              <a:rPr lang="en-US" altLang="ko-KR" sz="12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. Function list</a:t>
            </a:r>
          </a:p>
          <a:p>
            <a:r>
              <a:rPr lang="en-US" altLang="ko-KR" sz="12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. Feature Context</a:t>
            </a:r>
            <a:endParaRPr lang="en-US" altLang="ko-KR" sz="1200" dirty="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 Interaction Design</a:t>
            </a:r>
          </a:p>
          <a:p>
            <a:r>
              <a:rPr lang="en-US" altLang="ko-KR" sz="1200" strike="sngStrike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1 Feature#1</a:t>
            </a:r>
            <a:endParaRPr lang="en-US" altLang="ko-KR" sz="1200" dirty="0" smtClean="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.1 SD for Scenario#1 or UC#1</a:t>
            </a: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 Interface Design</a:t>
            </a:r>
          </a:p>
          <a:p>
            <a:r>
              <a:rPr lang="en-US" altLang="ko-KR" sz="1200" strike="sngStrike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lang="en-US" altLang="ko-KR" sz="1200" strike="sngStrike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1 Feature#1</a:t>
            </a: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5.1 Interfaces for Scenario#1 or UC#1</a:t>
            </a: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935341" y="769928"/>
            <a:ext cx="2279983" cy="1938992"/>
          </a:xfrm>
          <a:prstGeom prst="rect">
            <a:avLst/>
          </a:prstGeom>
          <a:solidFill>
            <a:srgbClr val="FFFFCC"/>
          </a:solidFill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AD </a:t>
            </a: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tructure 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1 EA)</a:t>
            </a:r>
          </a:p>
          <a:p>
            <a:pPr marL="234950" indent="-234950">
              <a:buAutoNum type="arabicPeriod"/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ntroduction</a:t>
            </a:r>
          </a:p>
          <a:p>
            <a:pPr marL="209550" indent="-209550">
              <a:buAutoNum type="arabicPeriod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rchitectural Drivers</a:t>
            </a:r>
          </a:p>
          <a:p>
            <a:pPr marL="209550" indent="-209550">
              <a:buAutoNum type="arabicPeriod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W Context</a:t>
            </a:r>
          </a:p>
          <a:p>
            <a:pPr marL="209550" indent="-209550">
              <a:buAutoNum type="arabicPeriod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W Architecture</a:t>
            </a:r>
          </a:p>
          <a:p>
            <a:pPr marL="209550" indent="-209550">
              <a:buAutoNum type="arabicPeriod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esource Consumption</a:t>
            </a:r>
          </a:p>
          <a:p>
            <a:pPr marL="209550" indent="-209550">
              <a:buAutoNum type="arabicPeriod"/>
            </a:pPr>
            <a:r>
              <a:rPr lang="en-US" altLang="ko-KR" sz="1200" strike="sngStrike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teraction Design</a:t>
            </a:r>
          </a:p>
          <a:p>
            <a:pPr marL="209550" indent="-209550">
              <a:buAutoNum type="arabicPeriod"/>
            </a:pPr>
            <a:r>
              <a:rPr lang="en-US" altLang="ko-KR" sz="1200" strike="sngStrike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terface Design</a:t>
            </a:r>
          </a:p>
          <a:p>
            <a:pPr marL="209550" indent="-209550"/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8. QA Scenario / Alternatives</a:t>
            </a:r>
          </a:p>
          <a:p>
            <a:pPr marL="209550" indent="-209550"/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9. Future Extension</a:t>
            </a:r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825208" y="4987776"/>
            <a:ext cx="2869312" cy="1569660"/>
          </a:xfrm>
          <a:prstGeom prst="rect">
            <a:avLst/>
          </a:prstGeom>
          <a:solidFill>
            <a:srgbClr val="FFFFCC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DD structure</a:t>
            </a:r>
            <a:r>
              <a:rPr lang="ko-KR" altLang="en-US" sz="1200" b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for each component)</a:t>
            </a:r>
          </a:p>
          <a:p>
            <a:pPr marL="234950" indent="-234950">
              <a:buAutoNum type="arabicPeriod"/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ntroduction</a:t>
            </a:r>
          </a:p>
          <a:p>
            <a:pPr marL="227013" indent="-227013">
              <a:buAutoNum type="arabicPeriod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omponent Context</a:t>
            </a:r>
          </a:p>
          <a:p>
            <a:pPr marL="227013" indent="-227013">
              <a:buAutoNum type="arabicPeriod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tatic Design</a:t>
            </a:r>
          </a:p>
          <a:p>
            <a:pPr marL="227013" indent="-227013">
              <a:buAutoNum type="arabicPeriod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ynamic Design</a:t>
            </a:r>
          </a:p>
          <a:p>
            <a:pPr marL="227013" indent="-227013">
              <a:buAutoNum type="arabicPeriod"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lgorithm Design</a:t>
            </a: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6. Global Variables</a:t>
            </a:r>
          </a:p>
          <a:p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7. Design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lternatives</a:t>
            </a:r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자유형 11"/>
          <p:cNvSpPr/>
          <p:nvPr/>
        </p:nvSpPr>
        <p:spPr bwMode="auto">
          <a:xfrm>
            <a:off x="6257801" y="2132856"/>
            <a:ext cx="606906" cy="627321"/>
          </a:xfrm>
          <a:custGeom>
            <a:avLst/>
            <a:gdLst>
              <a:gd name="connsiteX0" fmla="*/ 606906 w 606906"/>
              <a:gd name="connsiteY0" fmla="*/ 0 h 627321"/>
              <a:gd name="connsiteX1" fmla="*/ 96544 w 606906"/>
              <a:gd name="connsiteY1" fmla="*/ 127591 h 627321"/>
              <a:gd name="connsiteX2" fmla="*/ 851 w 606906"/>
              <a:gd name="connsiteY2" fmla="*/ 627321 h 6273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6906" h="627321">
                <a:moveTo>
                  <a:pt x="606906" y="0"/>
                </a:moveTo>
                <a:cubicBezTo>
                  <a:pt x="402229" y="11519"/>
                  <a:pt x="197553" y="23038"/>
                  <a:pt x="96544" y="127591"/>
                </a:cubicBezTo>
                <a:cubicBezTo>
                  <a:pt x="-4465" y="232144"/>
                  <a:pt x="-1807" y="429732"/>
                  <a:pt x="851" y="627321"/>
                </a:cubicBezTo>
              </a:path>
            </a:pathLst>
          </a:custGeom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rtlCol="0" anchor="ctr"/>
          <a:lstStyle/>
          <a:p>
            <a:pPr algn="ctr"/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961112" y="2132856"/>
            <a:ext cx="715260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eparate</a:t>
            </a:r>
            <a:endParaRPr lang="ko-KR" altLang="en-US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072680" y="1681063"/>
            <a:ext cx="13093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W Structure</a:t>
            </a:r>
            <a:endParaRPr lang="ko-KR" altLang="en-US" sz="1400" b="1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22393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APPENDIX 1. </a:t>
            </a:r>
            <a:r>
              <a:rPr lang="en-US" altLang="ko-KR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EA </a:t>
            </a:r>
            <a: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and Automatic creation of documentation</a:t>
            </a:r>
            <a:b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</a:b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72480" y="692696"/>
            <a:ext cx="9433048" cy="1012156"/>
          </a:xfrm>
        </p:spPr>
        <p:txBody>
          <a:bodyPr/>
          <a:lstStyle/>
          <a:p>
            <a:pPr marL="0" indent="0"/>
            <a:r>
              <a:rPr lang="en-US" altLang="ko-KR" dirty="0"/>
              <a:t>When designing using EA, developers focus only on design, regardless of document </a:t>
            </a:r>
            <a:r>
              <a:rPr lang="en-US" altLang="ko-KR" dirty="0" smtClean="0"/>
              <a:t>structure/granularity. The </a:t>
            </a:r>
            <a:r>
              <a:rPr lang="en-US" altLang="ko-KR" dirty="0"/>
              <a:t>document structure has the advantage that </a:t>
            </a:r>
            <a:r>
              <a:rPr lang="en-US" altLang="ko-KR" dirty="0" smtClean="0"/>
              <a:t>can be freely created </a:t>
            </a:r>
            <a:r>
              <a:rPr lang="en-US" altLang="ko-KR" dirty="0"/>
              <a:t>according to the WBS or ‘convenience of change management</a:t>
            </a:r>
            <a:r>
              <a:rPr lang="en-US" altLang="ko-KR" dirty="0" smtClean="0"/>
              <a:t>’.</a:t>
            </a:r>
          </a:p>
          <a:p>
            <a:pPr marL="0" indent="0"/>
            <a:endParaRPr lang="en-US" altLang="ko-KR" dirty="0"/>
          </a:p>
        </p:txBody>
      </p:sp>
      <p:sp>
        <p:nvSpPr>
          <p:cNvPr id="5" name="TextBox 4"/>
          <p:cNvSpPr txBox="1"/>
          <p:nvPr/>
        </p:nvSpPr>
        <p:spPr>
          <a:xfrm>
            <a:off x="1896809" y="1700808"/>
            <a:ext cx="15612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Folder list of EA</a:t>
            </a:r>
            <a:endParaRPr lang="ko-KR" altLang="en-US" sz="1400" b="1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673080" y="1741033"/>
            <a:ext cx="28418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xample of Document creation</a:t>
            </a:r>
            <a:endParaRPr lang="ko-KR" altLang="en-US" sz="1400" b="1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 rotWithShape="1">
          <a:blip r:embed="rId2"/>
          <a:srcRect t="35300" b="42174"/>
          <a:stretch/>
        </p:blipFill>
        <p:spPr>
          <a:xfrm>
            <a:off x="799951" y="3521689"/>
            <a:ext cx="3255948" cy="1544825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 rotWithShape="1">
          <a:blip r:embed="rId3"/>
          <a:srcRect t="24375" b="56726"/>
          <a:stretch/>
        </p:blipFill>
        <p:spPr>
          <a:xfrm>
            <a:off x="801101" y="2225545"/>
            <a:ext cx="3255948" cy="1296144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 rotWithShape="1">
          <a:blip r:embed="rId2"/>
          <a:srcRect t="79930"/>
          <a:stretch/>
        </p:blipFill>
        <p:spPr>
          <a:xfrm>
            <a:off x="799951" y="5069558"/>
            <a:ext cx="3255948" cy="1376415"/>
          </a:xfrm>
          <a:prstGeom prst="rect">
            <a:avLst/>
          </a:prstGeom>
        </p:spPr>
      </p:pic>
      <p:cxnSp>
        <p:nvCxnSpPr>
          <p:cNvPr id="11" name="직선 화살표 연결선 10"/>
          <p:cNvCxnSpPr/>
          <p:nvPr/>
        </p:nvCxnSpPr>
        <p:spPr bwMode="auto">
          <a:xfrm>
            <a:off x="2112833" y="4651509"/>
            <a:ext cx="2863220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TextBox 11"/>
          <p:cNvSpPr txBox="1"/>
          <p:nvPr/>
        </p:nvSpPr>
        <p:spPr>
          <a:xfrm>
            <a:off x="5017187" y="4337636"/>
            <a:ext cx="46616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76 SD of 18 Features are created in 1 HLD</a:t>
            </a:r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4" name="직선 화살표 연결선 13"/>
          <p:cNvCxnSpPr/>
          <p:nvPr/>
        </p:nvCxnSpPr>
        <p:spPr bwMode="auto">
          <a:xfrm>
            <a:off x="2068752" y="3853616"/>
            <a:ext cx="2863220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5" name="TextBox 14"/>
          <p:cNvSpPr txBox="1"/>
          <p:nvPr/>
        </p:nvSpPr>
        <p:spPr>
          <a:xfrm>
            <a:off x="5017187" y="3668950"/>
            <a:ext cx="27638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 Views are used in SAD</a:t>
            </a:r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6" name="직선 화살표 연결선 15"/>
          <p:cNvCxnSpPr/>
          <p:nvPr/>
        </p:nvCxnSpPr>
        <p:spPr bwMode="auto">
          <a:xfrm>
            <a:off x="2112833" y="2959250"/>
            <a:ext cx="2863220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" name="TextBox 16"/>
          <p:cNvSpPr txBox="1"/>
          <p:nvPr/>
        </p:nvSpPr>
        <p:spPr>
          <a:xfrm>
            <a:off x="5017187" y="2774584"/>
            <a:ext cx="42049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8</a:t>
            </a:r>
            <a:r>
              <a:rPr lang="ko-KR" altLang="en-US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Use case diagrams are used in</a:t>
            </a:r>
            <a:r>
              <a:rPr lang="ko-KR" altLang="en-US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RS</a:t>
            </a:r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8" name="직선 화살표 연결선 17"/>
          <p:cNvCxnSpPr/>
          <p:nvPr/>
        </p:nvCxnSpPr>
        <p:spPr bwMode="auto">
          <a:xfrm>
            <a:off x="2112833" y="5512585"/>
            <a:ext cx="2863220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" name="TextBox 18"/>
          <p:cNvSpPr txBox="1"/>
          <p:nvPr/>
        </p:nvSpPr>
        <p:spPr>
          <a:xfrm>
            <a:off x="5017187" y="5198712"/>
            <a:ext cx="46616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9 Components, 600 functions are created in 9 SDD</a:t>
            </a:r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2520" y="6495147"/>
            <a:ext cx="92170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* It is recommended to configure the EA folder as a single root for the entire baseline. (The figure is a case in which the root is separated step by 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tep)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34934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APPENDIX </a:t>
            </a:r>
            <a:r>
              <a:rPr lang="en-US" altLang="ko-KR" dirty="0" smtClean="0"/>
              <a:t>2. </a:t>
            </a:r>
            <a:r>
              <a:rPr lang="en-US" altLang="ko-KR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Traceability Module Setup </a:t>
            </a:r>
            <a: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(</a:t>
            </a:r>
            <a:r>
              <a:rPr lang="en-US" altLang="ko-KR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Doors)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56456" y="692696"/>
            <a:ext cx="9793088" cy="1019731"/>
          </a:xfrm>
        </p:spPr>
        <p:txBody>
          <a:bodyPr/>
          <a:lstStyle/>
          <a:p>
            <a:pPr marL="0" indent="0"/>
            <a:r>
              <a:rPr lang="en-US" altLang="ko-KR" dirty="0"/>
              <a:t>If you set up traceability using Doors, you need to properly separate link modules to search for traceability by link</a:t>
            </a:r>
            <a:r>
              <a:rPr lang="en-US" altLang="ko-KR" dirty="0" smtClean="0"/>
              <a:t>.</a:t>
            </a:r>
          </a:p>
          <a:p>
            <a:pPr marL="0" indent="0"/>
            <a:r>
              <a:rPr lang="en-US" altLang="ko-KR" sz="1400" dirty="0" smtClean="0"/>
              <a:t>- </a:t>
            </a:r>
            <a:r>
              <a:rPr lang="en-US" altLang="ko-KR" sz="1400" dirty="0"/>
              <a:t>Do not set multiple in-links in the same link module in a specific node. (Can be minimized with 4 link modules</a:t>
            </a:r>
            <a:r>
              <a:rPr lang="en-US" altLang="ko-KR" sz="1400" dirty="0" smtClean="0"/>
              <a:t>)</a:t>
            </a:r>
            <a:endParaRPr lang="en-US" altLang="ko-KR" sz="1400" dirty="0"/>
          </a:p>
        </p:txBody>
      </p:sp>
      <p:sp>
        <p:nvSpPr>
          <p:cNvPr id="5" name="TextBox 4"/>
          <p:cNvSpPr txBox="1"/>
          <p:nvPr/>
        </p:nvSpPr>
        <p:spPr>
          <a:xfrm>
            <a:off x="2191264" y="1556792"/>
            <a:ext cx="13019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asic link set</a:t>
            </a:r>
            <a:endParaRPr lang="ko-KR" altLang="en-US" sz="1400" b="1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617296" y="1556792"/>
            <a:ext cx="22329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raceability link module</a:t>
            </a:r>
            <a:endParaRPr lang="ko-KR" altLang="en-US" sz="1400" b="1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타원 19"/>
          <p:cNvSpPr/>
          <p:nvPr/>
        </p:nvSpPr>
        <p:spPr>
          <a:xfrm>
            <a:off x="3576145" y="5021894"/>
            <a:ext cx="576064" cy="389499"/>
          </a:xfrm>
          <a:prstGeom prst="ellips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UTC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21" name="타원 20"/>
          <p:cNvSpPr/>
          <p:nvPr/>
        </p:nvSpPr>
        <p:spPr>
          <a:xfrm>
            <a:off x="3576145" y="4296465"/>
            <a:ext cx="576064" cy="389499"/>
          </a:xfrm>
          <a:prstGeom prst="ellips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W</a:t>
            </a:r>
          </a:p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ITC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22" name="타원 21"/>
          <p:cNvSpPr/>
          <p:nvPr/>
        </p:nvSpPr>
        <p:spPr>
          <a:xfrm>
            <a:off x="3576145" y="3564480"/>
            <a:ext cx="576064" cy="389499"/>
          </a:xfrm>
          <a:prstGeom prst="ellips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W</a:t>
            </a:r>
          </a:p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TC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23" name="타원 22"/>
          <p:cNvSpPr/>
          <p:nvPr/>
        </p:nvSpPr>
        <p:spPr>
          <a:xfrm>
            <a:off x="4232920" y="3214126"/>
            <a:ext cx="576064" cy="389499"/>
          </a:xfrm>
          <a:prstGeom prst="ellips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ysITC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24" name="타원 23"/>
          <p:cNvSpPr/>
          <p:nvPr/>
        </p:nvSpPr>
        <p:spPr>
          <a:xfrm>
            <a:off x="3576145" y="2834573"/>
            <a:ext cx="576064" cy="389499"/>
          </a:xfrm>
          <a:prstGeom prst="ellips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ysTC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25" name="직선 화살표 연결선 24"/>
          <p:cNvCxnSpPr>
            <a:stCxn id="34" idx="4"/>
            <a:endCxn id="35" idx="0"/>
          </p:cNvCxnSpPr>
          <p:nvPr/>
        </p:nvCxnSpPr>
        <p:spPr>
          <a:xfrm>
            <a:off x="2063977" y="2487092"/>
            <a:ext cx="0" cy="327054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타원 25"/>
          <p:cNvSpPr/>
          <p:nvPr/>
        </p:nvSpPr>
        <p:spPr>
          <a:xfrm>
            <a:off x="2572102" y="3207172"/>
            <a:ext cx="576064" cy="40402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ysAD</a:t>
            </a:r>
          </a:p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HSI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27" name="직선 화살표 연결선 26"/>
          <p:cNvCxnSpPr>
            <a:stCxn id="35" idx="4"/>
            <a:endCxn id="36" idx="0"/>
          </p:cNvCxnSpPr>
          <p:nvPr/>
        </p:nvCxnSpPr>
        <p:spPr>
          <a:xfrm>
            <a:off x="2063977" y="3218167"/>
            <a:ext cx="0" cy="327054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직선 화살표 연결선 27"/>
          <p:cNvCxnSpPr>
            <a:stCxn id="36" idx="4"/>
            <a:endCxn id="38" idx="0"/>
          </p:cNvCxnSpPr>
          <p:nvPr/>
        </p:nvCxnSpPr>
        <p:spPr>
          <a:xfrm>
            <a:off x="2063977" y="3949242"/>
            <a:ext cx="0" cy="327054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화살표 연결선 28"/>
          <p:cNvCxnSpPr>
            <a:stCxn id="36" idx="6"/>
            <a:endCxn id="37" idx="1"/>
          </p:cNvCxnSpPr>
          <p:nvPr/>
        </p:nvCxnSpPr>
        <p:spPr>
          <a:xfrm>
            <a:off x="2352009" y="3747232"/>
            <a:ext cx="278888" cy="244889"/>
          </a:xfrm>
          <a:prstGeom prst="straightConnector1">
            <a:avLst/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화살표 연결선 29"/>
          <p:cNvCxnSpPr>
            <a:stCxn id="35" idx="6"/>
            <a:endCxn id="26" idx="1"/>
          </p:cNvCxnSpPr>
          <p:nvPr/>
        </p:nvCxnSpPr>
        <p:spPr>
          <a:xfrm>
            <a:off x="2352009" y="3016157"/>
            <a:ext cx="304456" cy="250183"/>
          </a:xfrm>
          <a:prstGeom prst="straightConnector1">
            <a:avLst/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2432720" y="2487092"/>
            <a:ext cx="9293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Validation </a:t>
            </a:r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07793" y="3358206"/>
            <a:ext cx="9596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Verification</a:t>
            </a:r>
          </a:p>
        </p:txBody>
      </p:sp>
      <p:cxnSp>
        <p:nvCxnSpPr>
          <p:cNvPr id="33" name="직선 화살표 연결선 32"/>
          <p:cNvCxnSpPr/>
          <p:nvPr/>
        </p:nvCxnSpPr>
        <p:spPr>
          <a:xfrm flipV="1">
            <a:off x="1414320" y="2913645"/>
            <a:ext cx="39869" cy="1699720"/>
          </a:xfrm>
          <a:prstGeom prst="straightConnector1">
            <a:avLst/>
          </a:prstGeom>
          <a:ln w="19050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타원 33"/>
          <p:cNvSpPr/>
          <p:nvPr/>
        </p:nvSpPr>
        <p:spPr>
          <a:xfrm>
            <a:off x="1775945" y="2083071"/>
            <a:ext cx="576064" cy="40402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CRS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5" name="타원 34"/>
          <p:cNvSpPr/>
          <p:nvPr/>
        </p:nvSpPr>
        <p:spPr>
          <a:xfrm>
            <a:off x="1775945" y="2814146"/>
            <a:ext cx="576064" cy="40402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ysRS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6" name="타원 35"/>
          <p:cNvSpPr/>
          <p:nvPr/>
        </p:nvSpPr>
        <p:spPr>
          <a:xfrm>
            <a:off x="1775945" y="3545221"/>
            <a:ext cx="576064" cy="40402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RS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7" name="타원 36"/>
          <p:cNvSpPr/>
          <p:nvPr/>
        </p:nvSpPr>
        <p:spPr>
          <a:xfrm>
            <a:off x="2546534" y="3932953"/>
            <a:ext cx="576064" cy="40402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AD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8" name="타원 37"/>
          <p:cNvSpPr/>
          <p:nvPr/>
        </p:nvSpPr>
        <p:spPr>
          <a:xfrm>
            <a:off x="1775945" y="4276296"/>
            <a:ext cx="576064" cy="40402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DD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9" name="타원 38"/>
          <p:cNvSpPr/>
          <p:nvPr/>
        </p:nvSpPr>
        <p:spPr>
          <a:xfrm>
            <a:off x="1775945" y="5007372"/>
            <a:ext cx="576064" cy="40402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W</a:t>
            </a:r>
          </a:p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UNIT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40" name="직선 화살표 연결선 39"/>
          <p:cNvCxnSpPr>
            <a:stCxn id="36" idx="6"/>
            <a:endCxn id="26" idx="3"/>
          </p:cNvCxnSpPr>
          <p:nvPr/>
        </p:nvCxnSpPr>
        <p:spPr>
          <a:xfrm flipV="1">
            <a:off x="2352009" y="3552025"/>
            <a:ext cx="304456" cy="195207"/>
          </a:xfrm>
          <a:prstGeom prst="straightConnector1">
            <a:avLst/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직선 화살표 연결선 40"/>
          <p:cNvCxnSpPr>
            <a:stCxn id="35" idx="6"/>
            <a:endCxn id="24" idx="2"/>
          </p:cNvCxnSpPr>
          <p:nvPr/>
        </p:nvCxnSpPr>
        <p:spPr>
          <a:xfrm>
            <a:off x="2352009" y="3016157"/>
            <a:ext cx="1224136" cy="13166"/>
          </a:xfrm>
          <a:prstGeom prst="straightConnector1">
            <a:avLst/>
          </a:prstGeom>
          <a:ln w="19050">
            <a:solidFill>
              <a:srgbClr val="0000FF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직선 화살표 연결선 41"/>
          <p:cNvCxnSpPr>
            <a:stCxn id="38" idx="6"/>
            <a:endCxn id="21" idx="2"/>
          </p:cNvCxnSpPr>
          <p:nvPr/>
        </p:nvCxnSpPr>
        <p:spPr>
          <a:xfrm>
            <a:off x="2352009" y="4478307"/>
            <a:ext cx="1224136" cy="12908"/>
          </a:xfrm>
          <a:prstGeom prst="straightConnector1">
            <a:avLst/>
          </a:prstGeom>
          <a:ln w="19050">
            <a:solidFill>
              <a:srgbClr val="0000FF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직선 화살표 연결선 42"/>
          <p:cNvCxnSpPr>
            <a:stCxn id="36" idx="6"/>
            <a:endCxn id="22" idx="2"/>
          </p:cNvCxnSpPr>
          <p:nvPr/>
        </p:nvCxnSpPr>
        <p:spPr>
          <a:xfrm>
            <a:off x="2352009" y="3747232"/>
            <a:ext cx="1224136" cy="11998"/>
          </a:xfrm>
          <a:prstGeom prst="straightConnector1">
            <a:avLst/>
          </a:prstGeom>
          <a:ln w="19050">
            <a:solidFill>
              <a:srgbClr val="0000FF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직선 화살표 연결선 43"/>
          <p:cNvCxnSpPr>
            <a:stCxn id="26" idx="6"/>
            <a:endCxn id="23" idx="2"/>
          </p:cNvCxnSpPr>
          <p:nvPr/>
        </p:nvCxnSpPr>
        <p:spPr>
          <a:xfrm flipV="1">
            <a:off x="3148166" y="3408876"/>
            <a:ext cx="1084754" cy="307"/>
          </a:xfrm>
          <a:prstGeom prst="straightConnector1">
            <a:avLst/>
          </a:prstGeom>
          <a:ln w="19050">
            <a:solidFill>
              <a:srgbClr val="0000FF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직선 화살표 연결선 44"/>
          <p:cNvCxnSpPr/>
          <p:nvPr/>
        </p:nvCxnSpPr>
        <p:spPr>
          <a:xfrm>
            <a:off x="8053413" y="3908885"/>
            <a:ext cx="288064" cy="0"/>
          </a:xfrm>
          <a:prstGeom prst="straightConnector1">
            <a:avLst/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7907362" y="2221092"/>
            <a:ext cx="90120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ink module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8368492" y="3767176"/>
            <a:ext cx="14782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lassification/Grouping</a:t>
            </a:r>
            <a:r>
              <a:rPr lang="en-US" altLang="ko-KR" sz="1200" baseline="30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*</a:t>
            </a:r>
            <a:endParaRPr lang="ko-KR" altLang="en-US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" name="타원 50"/>
          <p:cNvSpPr/>
          <p:nvPr/>
        </p:nvSpPr>
        <p:spPr>
          <a:xfrm>
            <a:off x="1763281" y="5964448"/>
            <a:ext cx="576064" cy="40402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Original module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2" name="타원 51"/>
          <p:cNvSpPr/>
          <p:nvPr/>
        </p:nvSpPr>
        <p:spPr>
          <a:xfrm>
            <a:off x="2432720" y="5967567"/>
            <a:ext cx="576064" cy="40402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Index</a:t>
            </a:r>
          </a:p>
          <a:p>
            <a:pPr algn="ctr"/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module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5" name="직사각형 54"/>
          <p:cNvSpPr/>
          <p:nvPr/>
        </p:nvSpPr>
        <p:spPr>
          <a:xfrm>
            <a:off x="1640632" y="5805264"/>
            <a:ext cx="2264949" cy="671573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2168962" y="5539455"/>
            <a:ext cx="611065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gend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7" name="타원 56"/>
          <p:cNvSpPr/>
          <p:nvPr/>
        </p:nvSpPr>
        <p:spPr>
          <a:xfrm>
            <a:off x="3152800" y="5967567"/>
            <a:ext cx="576064" cy="389499"/>
          </a:xfrm>
          <a:prstGeom prst="ellips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TC</a:t>
            </a:r>
          </a:p>
          <a:p>
            <a:pPr algn="ctr"/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module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59" name="직선 화살표 연결선 58"/>
          <p:cNvCxnSpPr/>
          <p:nvPr/>
        </p:nvCxnSpPr>
        <p:spPr>
          <a:xfrm flipH="1">
            <a:off x="8019545" y="2657785"/>
            <a:ext cx="335459" cy="11303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8382271" y="2532535"/>
            <a:ext cx="112562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ink_Verification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61" name="직선 화살표 연결선 60"/>
          <p:cNvCxnSpPr/>
          <p:nvPr/>
        </p:nvCxnSpPr>
        <p:spPr>
          <a:xfrm flipH="1">
            <a:off x="8019545" y="2951690"/>
            <a:ext cx="335459" cy="11303"/>
          </a:xfrm>
          <a:prstGeom prst="straightConnector1">
            <a:avLst/>
          </a:prstGeom>
          <a:ln w="19050">
            <a:solidFill>
              <a:srgbClr val="FF0000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>
          <a:xfrm>
            <a:off x="8382271" y="2826440"/>
            <a:ext cx="113364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ink_SysAD_SAD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63" name="직선 화살표 연결선 62"/>
          <p:cNvCxnSpPr/>
          <p:nvPr/>
        </p:nvCxnSpPr>
        <p:spPr>
          <a:xfrm flipH="1">
            <a:off x="8019545" y="3239722"/>
            <a:ext cx="335459" cy="11303"/>
          </a:xfrm>
          <a:prstGeom prst="straightConnector1">
            <a:avLst/>
          </a:prstGeom>
          <a:ln w="19050">
            <a:solidFill>
              <a:srgbClr val="00B050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8382271" y="3114472"/>
            <a:ext cx="94609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ink_SWUNIT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65" name="직선 화살표 연결선 64"/>
          <p:cNvCxnSpPr/>
          <p:nvPr/>
        </p:nvCxnSpPr>
        <p:spPr>
          <a:xfrm flipH="1">
            <a:off x="8006870" y="3527754"/>
            <a:ext cx="335459" cy="11303"/>
          </a:xfrm>
          <a:prstGeom prst="straightConnector1">
            <a:avLst/>
          </a:prstGeom>
          <a:ln w="19050">
            <a:solidFill>
              <a:srgbClr val="0000FF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/>
          <p:cNvSpPr txBox="1"/>
          <p:nvPr/>
        </p:nvSpPr>
        <p:spPr>
          <a:xfrm>
            <a:off x="8369596" y="3402504"/>
            <a:ext cx="105509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ink_Validation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67" name="직선 화살표 연결선 66"/>
          <p:cNvCxnSpPr>
            <a:stCxn id="26" idx="2"/>
            <a:endCxn id="35" idx="5"/>
          </p:cNvCxnSpPr>
          <p:nvPr/>
        </p:nvCxnSpPr>
        <p:spPr>
          <a:xfrm flipH="1" flipV="1">
            <a:off x="2267646" y="3158999"/>
            <a:ext cx="304456" cy="250184"/>
          </a:xfrm>
          <a:prstGeom prst="straightConnector1">
            <a:avLst/>
          </a:prstGeom>
          <a:ln w="19050">
            <a:solidFill>
              <a:srgbClr val="FF00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직선 화살표 연결선 67"/>
          <p:cNvCxnSpPr>
            <a:stCxn id="37" idx="2"/>
            <a:endCxn id="36" idx="5"/>
          </p:cNvCxnSpPr>
          <p:nvPr/>
        </p:nvCxnSpPr>
        <p:spPr>
          <a:xfrm flipH="1" flipV="1">
            <a:off x="2267646" y="3890074"/>
            <a:ext cx="278888" cy="244890"/>
          </a:xfrm>
          <a:prstGeom prst="straightConnector1">
            <a:avLst/>
          </a:prstGeom>
          <a:ln w="19050">
            <a:solidFill>
              <a:srgbClr val="FF00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직사각형 68"/>
          <p:cNvSpPr/>
          <p:nvPr/>
        </p:nvSpPr>
        <p:spPr>
          <a:xfrm>
            <a:off x="7905328" y="2467250"/>
            <a:ext cx="1616836" cy="1260903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0" name="타원 69"/>
          <p:cNvSpPr/>
          <p:nvPr/>
        </p:nvSpPr>
        <p:spPr>
          <a:xfrm>
            <a:off x="3576145" y="2089750"/>
            <a:ext cx="576064" cy="389499"/>
          </a:xfrm>
          <a:prstGeom prst="ellips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anityTC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71" name="직선 화살표 연결선 70"/>
          <p:cNvCxnSpPr>
            <a:stCxn id="70" idx="2"/>
            <a:endCxn id="34" idx="6"/>
          </p:cNvCxnSpPr>
          <p:nvPr/>
        </p:nvCxnSpPr>
        <p:spPr>
          <a:xfrm flipH="1">
            <a:off x="2352009" y="2284500"/>
            <a:ext cx="1224136" cy="582"/>
          </a:xfrm>
          <a:prstGeom prst="straightConnector1">
            <a:avLst/>
          </a:prstGeom>
          <a:ln w="19050">
            <a:solidFill>
              <a:srgbClr val="0000FF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모서리가 둥근 사각형 설명선 9"/>
          <p:cNvSpPr/>
          <p:nvPr/>
        </p:nvSpPr>
        <p:spPr bwMode="auto">
          <a:xfrm>
            <a:off x="129491" y="1981332"/>
            <a:ext cx="1511141" cy="642378"/>
          </a:xfrm>
          <a:prstGeom prst="wedgeRoundRectCallout">
            <a:avLst>
              <a:gd name="adj1" fmla="val 57074"/>
              <a:gd name="adj2" fmla="val 88630"/>
              <a:gd name="adj3" fmla="val 16667"/>
            </a:avLst>
          </a:prstGeom>
          <a:solidFill>
            <a:srgbClr val="FFFF00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latinLnBrk="0"/>
            <a:r>
              <a:rPr kumimoji="0" lang="en-US" altLang="ko-KR" sz="1000" dirty="0">
                <a:latin typeface="맑은 고딕" pitchFamily="50" charset="-127"/>
                <a:ea typeface="맑은 고딕" pitchFamily="50" charset="-127"/>
              </a:rPr>
              <a:t>In-links coming into a node must be different link </a:t>
            </a:r>
            <a:r>
              <a:rPr kumimoji="0" lang="en-US" altLang="ko-KR" sz="1000" dirty="0" smtClean="0">
                <a:latin typeface="맑은 고딕" pitchFamily="50" charset="-127"/>
                <a:ea typeface="맑은 고딕" pitchFamily="50" charset="-127"/>
              </a:rPr>
              <a:t>modules</a:t>
            </a:r>
            <a:endParaRPr kumimoji="0" lang="ko-KR" altLang="en-US" sz="10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2" name="원호 71"/>
          <p:cNvSpPr/>
          <p:nvPr/>
        </p:nvSpPr>
        <p:spPr>
          <a:xfrm rot="13589337">
            <a:off x="1546027" y="3640561"/>
            <a:ext cx="1732261" cy="1742149"/>
          </a:xfrm>
          <a:prstGeom prst="arc">
            <a:avLst/>
          </a:prstGeom>
          <a:ln w="19050">
            <a:solidFill>
              <a:srgbClr val="00B050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73" name="직선 화살표 연결선 72"/>
          <p:cNvCxnSpPr/>
          <p:nvPr/>
        </p:nvCxnSpPr>
        <p:spPr>
          <a:xfrm flipH="1">
            <a:off x="2311549" y="4213580"/>
            <a:ext cx="278888" cy="200501"/>
          </a:xfrm>
          <a:prstGeom prst="straightConnector1">
            <a:avLst/>
          </a:prstGeom>
          <a:ln w="19050">
            <a:solidFill>
              <a:schemeClr val="tx1"/>
            </a:solidFill>
            <a:prstDash val="sysDot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직선 화살표 연결선 73"/>
          <p:cNvCxnSpPr>
            <a:endCxn id="20" idx="2"/>
          </p:cNvCxnSpPr>
          <p:nvPr/>
        </p:nvCxnSpPr>
        <p:spPr>
          <a:xfrm>
            <a:off x="2344969" y="5213569"/>
            <a:ext cx="1231176" cy="3075"/>
          </a:xfrm>
          <a:prstGeom prst="straightConnector1">
            <a:avLst/>
          </a:prstGeom>
          <a:ln w="19050">
            <a:solidFill>
              <a:srgbClr val="0000FF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타원 74"/>
          <p:cNvSpPr/>
          <p:nvPr/>
        </p:nvSpPr>
        <p:spPr>
          <a:xfrm>
            <a:off x="6600481" y="5021894"/>
            <a:ext cx="576064" cy="389499"/>
          </a:xfrm>
          <a:prstGeom prst="ellips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UTC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6" name="타원 75"/>
          <p:cNvSpPr/>
          <p:nvPr/>
        </p:nvSpPr>
        <p:spPr>
          <a:xfrm>
            <a:off x="6600481" y="4296465"/>
            <a:ext cx="576064" cy="389499"/>
          </a:xfrm>
          <a:prstGeom prst="ellips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W</a:t>
            </a:r>
          </a:p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ITC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7" name="타원 76"/>
          <p:cNvSpPr/>
          <p:nvPr/>
        </p:nvSpPr>
        <p:spPr>
          <a:xfrm>
            <a:off x="6600481" y="3564480"/>
            <a:ext cx="576064" cy="389499"/>
          </a:xfrm>
          <a:prstGeom prst="ellips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W</a:t>
            </a:r>
          </a:p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TC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8" name="타원 77"/>
          <p:cNvSpPr/>
          <p:nvPr/>
        </p:nvSpPr>
        <p:spPr>
          <a:xfrm>
            <a:off x="7257256" y="3214126"/>
            <a:ext cx="576064" cy="389499"/>
          </a:xfrm>
          <a:prstGeom prst="ellips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ysITC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9" name="타원 78"/>
          <p:cNvSpPr/>
          <p:nvPr/>
        </p:nvSpPr>
        <p:spPr>
          <a:xfrm>
            <a:off x="6600481" y="2834573"/>
            <a:ext cx="576064" cy="389499"/>
          </a:xfrm>
          <a:prstGeom prst="ellips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ysTC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80" name="직선 화살표 연결선 79"/>
          <p:cNvCxnSpPr>
            <a:stCxn id="89" idx="4"/>
            <a:endCxn id="90" idx="0"/>
          </p:cNvCxnSpPr>
          <p:nvPr/>
        </p:nvCxnSpPr>
        <p:spPr>
          <a:xfrm>
            <a:off x="5088313" y="2487092"/>
            <a:ext cx="0" cy="327054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타원 80"/>
          <p:cNvSpPr/>
          <p:nvPr/>
        </p:nvSpPr>
        <p:spPr>
          <a:xfrm>
            <a:off x="5596438" y="3207172"/>
            <a:ext cx="576064" cy="40402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ysAD</a:t>
            </a:r>
          </a:p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HSI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82" name="직선 화살표 연결선 81"/>
          <p:cNvCxnSpPr>
            <a:stCxn id="90" idx="4"/>
            <a:endCxn id="91" idx="0"/>
          </p:cNvCxnSpPr>
          <p:nvPr/>
        </p:nvCxnSpPr>
        <p:spPr>
          <a:xfrm>
            <a:off x="5088313" y="3218167"/>
            <a:ext cx="0" cy="327054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직선 화살표 연결선 82"/>
          <p:cNvCxnSpPr>
            <a:stCxn id="91" idx="4"/>
            <a:endCxn id="93" idx="0"/>
          </p:cNvCxnSpPr>
          <p:nvPr/>
        </p:nvCxnSpPr>
        <p:spPr>
          <a:xfrm>
            <a:off x="5088313" y="3949242"/>
            <a:ext cx="0" cy="327054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직선 화살표 연결선 83"/>
          <p:cNvCxnSpPr>
            <a:stCxn id="91" idx="6"/>
            <a:endCxn id="92" idx="1"/>
          </p:cNvCxnSpPr>
          <p:nvPr/>
        </p:nvCxnSpPr>
        <p:spPr>
          <a:xfrm>
            <a:off x="5376345" y="3747232"/>
            <a:ext cx="278888" cy="244889"/>
          </a:xfrm>
          <a:prstGeom prst="straightConnector1">
            <a:avLst/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직선 화살표 연결선 84"/>
          <p:cNvCxnSpPr>
            <a:stCxn id="90" idx="6"/>
            <a:endCxn id="81" idx="1"/>
          </p:cNvCxnSpPr>
          <p:nvPr/>
        </p:nvCxnSpPr>
        <p:spPr>
          <a:xfrm>
            <a:off x="5376345" y="3016157"/>
            <a:ext cx="304456" cy="250183"/>
          </a:xfrm>
          <a:prstGeom prst="straightConnector1">
            <a:avLst/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타원 88"/>
          <p:cNvSpPr/>
          <p:nvPr/>
        </p:nvSpPr>
        <p:spPr>
          <a:xfrm>
            <a:off x="4800281" y="2083071"/>
            <a:ext cx="576064" cy="40402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CRS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90" name="타원 89"/>
          <p:cNvSpPr/>
          <p:nvPr/>
        </p:nvSpPr>
        <p:spPr>
          <a:xfrm>
            <a:off x="4800281" y="2814146"/>
            <a:ext cx="576064" cy="40402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ysRS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91" name="타원 90"/>
          <p:cNvSpPr/>
          <p:nvPr/>
        </p:nvSpPr>
        <p:spPr>
          <a:xfrm>
            <a:off x="4800281" y="3545221"/>
            <a:ext cx="576064" cy="40402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RS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92" name="타원 91"/>
          <p:cNvSpPr/>
          <p:nvPr/>
        </p:nvSpPr>
        <p:spPr>
          <a:xfrm>
            <a:off x="5570870" y="3932953"/>
            <a:ext cx="576064" cy="40402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AD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93" name="타원 92"/>
          <p:cNvSpPr/>
          <p:nvPr/>
        </p:nvSpPr>
        <p:spPr>
          <a:xfrm>
            <a:off x="4800281" y="4276296"/>
            <a:ext cx="576064" cy="40402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HLD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94" name="타원 93"/>
          <p:cNvSpPr/>
          <p:nvPr/>
        </p:nvSpPr>
        <p:spPr>
          <a:xfrm>
            <a:off x="4800281" y="5007372"/>
            <a:ext cx="576064" cy="40402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DD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95" name="직선 화살표 연결선 94"/>
          <p:cNvCxnSpPr>
            <a:stCxn id="91" idx="6"/>
            <a:endCxn id="81" idx="3"/>
          </p:cNvCxnSpPr>
          <p:nvPr/>
        </p:nvCxnSpPr>
        <p:spPr>
          <a:xfrm flipV="1">
            <a:off x="5376345" y="3552025"/>
            <a:ext cx="304456" cy="195207"/>
          </a:xfrm>
          <a:prstGeom prst="straightConnector1">
            <a:avLst/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직선 화살표 연결선 95"/>
          <p:cNvCxnSpPr>
            <a:stCxn id="90" idx="6"/>
            <a:endCxn id="79" idx="2"/>
          </p:cNvCxnSpPr>
          <p:nvPr/>
        </p:nvCxnSpPr>
        <p:spPr>
          <a:xfrm>
            <a:off x="5376345" y="3016157"/>
            <a:ext cx="1224136" cy="13166"/>
          </a:xfrm>
          <a:prstGeom prst="straightConnector1">
            <a:avLst/>
          </a:prstGeom>
          <a:ln w="19050">
            <a:solidFill>
              <a:srgbClr val="0000FF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직선 화살표 연결선 96"/>
          <p:cNvCxnSpPr>
            <a:stCxn id="93" idx="6"/>
            <a:endCxn id="76" idx="2"/>
          </p:cNvCxnSpPr>
          <p:nvPr/>
        </p:nvCxnSpPr>
        <p:spPr>
          <a:xfrm>
            <a:off x="5376345" y="4478307"/>
            <a:ext cx="1224136" cy="12908"/>
          </a:xfrm>
          <a:prstGeom prst="straightConnector1">
            <a:avLst/>
          </a:prstGeom>
          <a:ln w="19050">
            <a:solidFill>
              <a:srgbClr val="0000FF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직선 화살표 연결선 97"/>
          <p:cNvCxnSpPr>
            <a:stCxn id="91" idx="6"/>
            <a:endCxn id="77" idx="2"/>
          </p:cNvCxnSpPr>
          <p:nvPr/>
        </p:nvCxnSpPr>
        <p:spPr>
          <a:xfrm>
            <a:off x="5376345" y="3747232"/>
            <a:ext cx="1224136" cy="11998"/>
          </a:xfrm>
          <a:prstGeom prst="straightConnector1">
            <a:avLst/>
          </a:prstGeom>
          <a:ln w="19050">
            <a:solidFill>
              <a:srgbClr val="0000FF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직선 화살표 연결선 98"/>
          <p:cNvCxnSpPr>
            <a:stCxn id="81" idx="6"/>
            <a:endCxn id="78" idx="2"/>
          </p:cNvCxnSpPr>
          <p:nvPr/>
        </p:nvCxnSpPr>
        <p:spPr>
          <a:xfrm flipV="1">
            <a:off x="6172502" y="3408876"/>
            <a:ext cx="1084754" cy="307"/>
          </a:xfrm>
          <a:prstGeom prst="straightConnector1">
            <a:avLst/>
          </a:prstGeom>
          <a:ln w="19050">
            <a:solidFill>
              <a:srgbClr val="0000FF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직선 화살표 연결선 99"/>
          <p:cNvCxnSpPr>
            <a:stCxn id="81" idx="2"/>
            <a:endCxn id="90" idx="5"/>
          </p:cNvCxnSpPr>
          <p:nvPr/>
        </p:nvCxnSpPr>
        <p:spPr>
          <a:xfrm flipH="1" flipV="1">
            <a:off x="5291982" y="3158999"/>
            <a:ext cx="304456" cy="250184"/>
          </a:xfrm>
          <a:prstGeom prst="straightConnector1">
            <a:avLst/>
          </a:prstGeom>
          <a:ln w="19050">
            <a:solidFill>
              <a:srgbClr val="FF00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직선 화살표 연결선 100"/>
          <p:cNvCxnSpPr>
            <a:stCxn id="92" idx="2"/>
            <a:endCxn id="91" idx="5"/>
          </p:cNvCxnSpPr>
          <p:nvPr/>
        </p:nvCxnSpPr>
        <p:spPr>
          <a:xfrm flipH="1" flipV="1">
            <a:off x="5291982" y="3890074"/>
            <a:ext cx="278888" cy="244890"/>
          </a:xfrm>
          <a:prstGeom prst="straightConnector1">
            <a:avLst/>
          </a:prstGeom>
          <a:ln w="19050">
            <a:solidFill>
              <a:srgbClr val="FF00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타원 101"/>
          <p:cNvSpPr/>
          <p:nvPr/>
        </p:nvSpPr>
        <p:spPr>
          <a:xfrm>
            <a:off x="6600481" y="2089750"/>
            <a:ext cx="576064" cy="389499"/>
          </a:xfrm>
          <a:prstGeom prst="ellips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anityTC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103" name="직선 화살표 연결선 102"/>
          <p:cNvCxnSpPr>
            <a:stCxn id="102" idx="2"/>
            <a:endCxn id="89" idx="6"/>
          </p:cNvCxnSpPr>
          <p:nvPr/>
        </p:nvCxnSpPr>
        <p:spPr>
          <a:xfrm flipH="1">
            <a:off x="5376345" y="2284500"/>
            <a:ext cx="1224136" cy="582"/>
          </a:xfrm>
          <a:prstGeom prst="straightConnector1">
            <a:avLst/>
          </a:prstGeom>
          <a:ln w="19050">
            <a:solidFill>
              <a:srgbClr val="0000FF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직선 화살표 연결선 103"/>
          <p:cNvCxnSpPr>
            <a:stCxn id="92" idx="3"/>
            <a:endCxn id="94" idx="0"/>
          </p:cNvCxnSpPr>
          <p:nvPr/>
        </p:nvCxnSpPr>
        <p:spPr>
          <a:xfrm flipH="1">
            <a:off x="5088313" y="4277806"/>
            <a:ext cx="566920" cy="729566"/>
          </a:xfrm>
          <a:prstGeom prst="straightConnector1">
            <a:avLst/>
          </a:prstGeom>
          <a:ln w="19050">
            <a:solidFill>
              <a:schemeClr val="tx1"/>
            </a:solidFill>
            <a:prstDash val="sysDot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직선 화살표 연결선 104"/>
          <p:cNvCxnSpPr>
            <a:endCxn id="75" idx="2"/>
          </p:cNvCxnSpPr>
          <p:nvPr/>
        </p:nvCxnSpPr>
        <p:spPr>
          <a:xfrm>
            <a:off x="5369305" y="5213569"/>
            <a:ext cx="1231176" cy="3075"/>
          </a:xfrm>
          <a:prstGeom prst="straightConnector1">
            <a:avLst/>
          </a:prstGeom>
          <a:ln w="19050">
            <a:solidFill>
              <a:srgbClr val="0000FF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타원 106"/>
          <p:cNvSpPr/>
          <p:nvPr/>
        </p:nvSpPr>
        <p:spPr>
          <a:xfrm>
            <a:off x="4808984" y="5711498"/>
            <a:ext cx="576064" cy="40402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W</a:t>
            </a:r>
          </a:p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UNIT</a:t>
            </a:r>
            <a:endParaRPr lang="ko-KR" altLang="en-US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109" name="직선 화살표 연결선 108"/>
          <p:cNvCxnSpPr>
            <a:stCxn id="94" idx="4"/>
            <a:endCxn id="107" idx="0"/>
          </p:cNvCxnSpPr>
          <p:nvPr/>
        </p:nvCxnSpPr>
        <p:spPr>
          <a:xfrm>
            <a:off x="5088313" y="5411393"/>
            <a:ext cx="8703" cy="300105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직선 화살표 연결선 109"/>
          <p:cNvCxnSpPr/>
          <p:nvPr/>
        </p:nvCxnSpPr>
        <p:spPr>
          <a:xfrm flipH="1">
            <a:off x="2504728" y="2733315"/>
            <a:ext cx="1067176" cy="10842"/>
          </a:xfrm>
          <a:prstGeom prst="straightConnector1">
            <a:avLst/>
          </a:prstGeom>
          <a:ln w="19050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원호 110"/>
          <p:cNvSpPr/>
          <p:nvPr/>
        </p:nvSpPr>
        <p:spPr>
          <a:xfrm rot="13589337">
            <a:off x="4565295" y="3640561"/>
            <a:ext cx="1732261" cy="1742149"/>
          </a:xfrm>
          <a:prstGeom prst="arc">
            <a:avLst/>
          </a:prstGeom>
          <a:ln w="19050">
            <a:solidFill>
              <a:srgbClr val="00B050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5216093" y="1556792"/>
            <a:ext cx="17021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xpanded link set</a:t>
            </a:r>
            <a:endParaRPr lang="ko-KR" altLang="en-US" sz="1400" b="1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589597" y="5517232"/>
            <a:ext cx="420736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he </a:t>
            </a:r>
            <a:r>
              <a:rPr lang="en-US" altLang="ko-KR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SysRS-SysAD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SRS-SAD relationship is not at the level of individual requirements and can be grouped as long as the requirements are not omitted (as of ASPICE 3.0) The SAD-SDD relationship is a direct link if there is no individual requirement level content in the SAD. The SAD-SDD relationship only needs to be able to show that all components of the SAD are designed, even without direct linking, unless the SAD has individual requirements level content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58433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제목 1"/>
          <p:cNvSpPr txBox="1">
            <a:spLocks/>
          </p:cNvSpPr>
          <p:nvPr/>
        </p:nvSpPr>
        <p:spPr bwMode="auto">
          <a:xfrm>
            <a:off x="128588" y="115888"/>
            <a:ext cx="5184775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1"/>
            <a:r>
              <a:rPr lang="en-US" altLang="ko-KR" sz="24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Document Info</a:t>
            </a:r>
            <a:endParaRPr lang="ko-KR" altLang="en-US" sz="2400" b="1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3" name="내용 개체 틀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9362681"/>
              </p:ext>
            </p:extLst>
          </p:nvPr>
        </p:nvGraphicFramePr>
        <p:xfrm>
          <a:off x="344488" y="2204864"/>
          <a:ext cx="9217025" cy="2334260"/>
        </p:xfrm>
        <a:graphic>
          <a:graphicData uri="http://schemas.openxmlformats.org/drawingml/2006/table">
            <a:tbl>
              <a:tblPr/>
              <a:tblGrid>
                <a:gridCol w="1003300"/>
                <a:gridCol w="1387475"/>
                <a:gridCol w="4377977"/>
                <a:gridCol w="1080120"/>
                <a:gridCol w="1368153"/>
              </a:tblGrid>
              <a:tr h="365125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50" charset="-127"/>
                          <a:ea typeface="Malgun Gothic" panose="020B0503020000020004" pitchFamily="50" charset="-127"/>
                          <a:cs typeface="Arial" panose="020B0604020202020204" pitchFamily="34" charset="0"/>
                        </a:rPr>
                        <a:t>Version</a:t>
                      </a:r>
                      <a:endParaRPr kumimoji="0" lang="ko-KR" altLang="ko-K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50" charset="-127"/>
                          <a:ea typeface="Malgun Gothic" panose="020B0503020000020004" pitchFamily="50" charset="-127"/>
                          <a:cs typeface="Arial" panose="020B0604020202020204" pitchFamily="34" charset="0"/>
                        </a:rPr>
                        <a:t>Date</a:t>
                      </a:r>
                      <a:endParaRPr kumimoji="0" lang="ko-KR" altLang="ko-KR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50" charset="-127"/>
                          <a:ea typeface="Malgun Gothic" panose="020B0503020000020004" pitchFamily="50" charset="-127"/>
                          <a:cs typeface="Arial" panose="020B0604020202020204" pitchFamily="34" charset="0"/>
                        </a:rPr>
                        <a:t>Comment</a:t>
                      </a:r>
                      <a:endParaRPr kumimoji="0" lang="ko-KR" altLang="ko-KR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50" charset="-127"/>
                          <a:ea typeface="Malgun Gothic" panose="020B0503020000020004" pitchFamily="50" charset="-127"/>
                          <a:cs typeface="Arial" panose="020B0604020202020204" pitchFamily="34" charset="0"/>
                        </a:rPr>
                        <a:t>Author</a:t>
                      </a:r>
                      <a:endParaRPr kumimoji="0" lang="ko-KR" altLang="ko-KR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50" charset="-127"/>
                          <a:ea typeface="Malgun Gothic" panose="020B0503020000020004" pitchFamily="50" charset="-127"/>
                          <a:cs typeface="Arial" panose="020B0604020202020204" pitchFamily="34" charset="0"/>
                        </a:rPr>
                        <a:t>Approver</a:t>
                      </a:r>
                      <a:endParaRPr kumimoji="0" lang="ko-KR" altLang="ko-KR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</a:tr>
              <a:tr h="320675">
                <a:tc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en-US" altLang="ko-KR" sz="1200" b="0" i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1.0</a:t>
                      </a:r>
                      <a:endParaRPr lang="ko-KR" sz="1200" b="0" i="0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69938" marR="69938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en-US" altLang="ko-KR" sz="1200" b="0" i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2019-03-29</a:t>
                      </a:r>
                      <a:endParaRPr lang="ko-KR" sz="1200" b="0" i="0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69938" marR="69938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Initial</a:t>
                      </a:r>
                      <a:r>
                        <a:rPr lang="en-US" altLang="ko-KR" sz="1200" b="0" i="0" kern="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 version</a:t>
                      </a:r>
                      <a:endParaRPr lang="ko-KR" sz="1200" b="0" i="0" kern="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69938" marR="69938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50" charset="-127"/>
                          <a:ea typeface="Malgun Gothic" panose="020B0503020000020004" pitchFamily="50" charset="-127"/>
                          <a:cs typeface="Arial" panose="020B0604020202020204" pitchFamily="34" charset="0"/>
                        </a:rPr>
                        <a:t>GuanRok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50" charset="-127"/>
                          <a:ea typeface="Malgun Gothic" panose="020B0503020000020004" pitchFamily="50" charset="-127"/>
                          <a:cs typeface="Arial" panose="020B0604020202020204" pitchFamily="34" charset="0"/>
                        </a:rPr>
                        <a:t> Park</a:t>
                      </a: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50" charset="-127"/>
                          <a:ea typeface="Malgun Gothic" panose="020B0503020000020004" pitchFamily="50" charset="-127"/>
                          <a:cs typeface="Arial" panose="020B0604020202020204" pitchFamily="34" charset="0"/>
                        </a:rPr>
                        <a:t>SW Architect </a:t>
                      </a: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50" charset="-127"/>
                          <a:ea typeface="Malgun Gothic" panose="020B0503020000020004" pitchFamily="50" charset="-127"/>
                          <a:cs typeface="Arial" panose="020B0604020202020204" pitchFamily="34" charset="0"/>
                        </a:rPr>
                        <a:t>Team Leader</a:t>
                      </a: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0675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0675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0675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0675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0675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269" name="TextBox 4"/>
          <p:cNvSpPr txBox="1">
            <a:spLocks noChangeArrowheads="1"/>
          </p:cNvSpPr>
          <p:nvPr/>
        </p:nvSpPr>
        <p:spPr bwMode="auto">
          <a:xfrm>
            <a:off x="239713" y="1844824"/>
            <a:ext cx="273367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/>
            <a:r>
              <a:rPr lang="en-US" altLang="ko-KR" sz="1600" b="1" dirty="0">
                <a:latin typeface="Malgun Gothic" panose="020B0503020000020004" pitchFamily="50" charset="-127"/>
                <a:ea typeface="Malgun Gothic" panose="020B0503020000020004" pitchFamily="50" charset="-127"/>
              </a:rPr>
              <a:t>Revision History</a:t>
            </a:r>
            <a:endParaRPr lang="ko-KR" altLang="en-US" sz="1600" b="1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8270" name="TextBox 6"/>
          <p:cNvSpPr txBox="1">
            <a:spLocks noChangeArrowheads="1"/>
          </p:cNvSpPr>
          <p:nvPr/>
        </p:nvSpPr>
        <p:spPr bwMode="auto">
          <a:xfrm>
            <a:off x="239713" y="658813"/>
            <a:ext cx="273367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/>
            <a:r>
              <a:rPr lang="en-US" altLang="ko-KR" sz="1600" b="1" dirty="0">
                <a:latin typeface="Malgun Gothic" panose="020B0503020000020004" pitchFamily="50" charset="-127"/>
                <a:ea typeface="Malgun Gothic" panose="020B0503020000020004" pitchFamily="50" charset="-127"/>
              </a:rPr>
              <a:t>Document Information</a:t>
            </a:r>
            <a:endParaRPr lang="ko-KR" altLang="en-US" sz="1600" b="1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graphicFrame>
        <p:nvGraphicFramePr>
          <p:cNvPr id="7" name="내용 개체 틀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87753323"/>
              </p:ext>
            </p:extLst>
          </p:nvPr>
        </p:nvGraphicFramePr>
        <p:xfrm>
          <a:off x="346075" y="996950"/>
          <a:ext cx="9242425" cy="592138"/>
        </p:xfrm>
        <a:graphic>
          <a:graphicData uri="http://schemas.openxmlformats.org/drawingml/2006/table">
            <a:tbl>
              <a:tblPr/>
              <a:tblGrid>
                <a:gridCol w="2397173"/>
                <a:gridCol w="6845252"/>
              </a:tblGrid>
              <a:tr h="272164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en-US" altLang="ko-KR" sz="1200" b="1" kern="100" dirty="0" smtClean="0"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Issuing authority</a:t>
                      </a:r>
                      <a:endParaRPr lang="ko-KR" sz="1200" b="1" kern="100" dirty="0"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69944" marR="69944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pt-BR" altLang="ko-KR" sz="12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SW </a:t>
                      </a:r>
                      <a:r>
                        <a:rPr lang="pt-BR" altLang="ko-KR" sz="1200" b="0" kern="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Architect Unit</a:t>
                      </a:r>
                    </a:p>
                  </a:txBody>
                  <a:tcPr marL="69950" marR="69950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997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kern="100" dirty="0" smtClean="0"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Status of document</a:t>
                      </a:r>
                      <a:endParaRPr lang="ko-KR" altLang="ko-KR" sz="1200" b="1" kern="100" dirty="0" smtClean="0"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69944" marR="69944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kern="100" dirty="0" smtClean="0">
                          <a:solidFill>
                            <a:schemeClr val="accent4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In Progress / Approved / Released</a:t>
                      </a:r>
                      <a:endParaRPr lang="ko-KR" altLang="ko-KR" sz="1200" b="0" i="0" kern="100" dirty="0" smtClean="0">
                        <a:solidFill>
                          <a:schemeClr val="accent4"/>
                        </a:solidFill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69950" marR="69950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altLang="ko-KR" dirty="0" smtClean="0"/>
              <a:t>1</a:t>
            </a:r>
            <a:endParaRPr lang="ko-KR" altLang="en-US" dirty="0"/>
          </a:p>
        </p:txBody>
      </p:sp>
      <p:sp>
        <p:nvSpPr>
          <p:cNvPr id="8" name="Oval 2"/>
          <p:cNvSpPr>
            <a:spLocks noChangeArrowheads="1"/>
          </p:cNvSpPr>
          <p:nvPr/>
        </p:nvSpPr>
        <p:spPr bwMode="auto">
          <a:xfrm>
            <a:off x="4448944" y="1317260"/>
            <a:ext cx="861574" cy="247650"/>
          </a:xfrm>
          <a:prstGeom prst="ellipse">
            <a:avLst/>
          </a:prstGeom>
          <a:noFill/>
          <a:ln w="1905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dirty="0">
              <a:latin typeface="Arial Narrow" panose="020B0606020202030204" pitchFamily="34" charset="0"/>
              <a:ea typeface="LG스마트체 SemiBold" panose="020B0600000101010101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18" name="그룹 2"/>
          <p:cNvGrpSpPr>
            <a:grpSpLocks/>
          </p:cNvGrpSpPr>
          <p:nvPr/>
        </p:nvGrpSpPr>
        <p:grpSpPr bwMode="auto">
          <a:xfrm>
            <a:off x="1712604" y="1052736"/>
            <a:ext cx="6454673" cy="5182765"/>
            <a:chOff x="1697832" y="1553031"/>
            <a:chExt cx="6454457" cy="5183070"/>
          </a:xfrm>
        </p:grpSpPr>
        <p:sp>
          <p:nvSpPr>
            <p:cNvPr id="10243" name="Rectangle 1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697832" y="1553031"/>
              <a:ext cx="6448209" cy="471515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lIns="67339" tIns="34208" rIns="67339" bIns="34208" anchor="ctr"/>
            <a:lstStyle>
              <a:lvl1pPr defTabSz="68421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68421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68421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68421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68421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defRPr/>
              </a:pPr>
              <a:r>
                <a:rPr kumimoji="0" lang="en-US" altLang="ko-KR" sz="2400" b="1" dirty="0" smtClean="0">
                  <a:solidFill>
                    <a:srgbClr val="FFFFFF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Contents</a:t>
              </a:r>
              <a:endParaRPr kumimoji="0" lang="ko-KR" altLang="en-US" sz="2400" b="1" smtClean="0">
                <a:solidFill>
                  <a:srgbClr val="FFFFFF"/>
                </a:solidFill>
                <a:latin typeface="Malgun Gothic" panose="020B0503020000020004" pitchFamily="50" charset="-127"/>
                <a:ea typeface="Malgun Gothic" panose="020B0503020000020004" pitchFamily="50" charset="-127"/>
              </a:endParaRPr>
            </a:p>
          </p:txBody>
        </p:sp>
        <p:sp>
          <p:nvSpPr>
            <p:cNvPr id="9220" name="Rectangle 1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704080" y="2024546"/>
              <a:ext cx="6448209" cy="4711555"/>
            </a:xfrm>
            <a:prstGeom prst="rect">
              <a:avLst/>
            </a:prstGeom>
            <a:solidFill>
              <a:srgbClr val="FFFFFF"/>
            </a:solidFill>
            <a:ln w="3175">
              <a:solidFill>
                <a:srgbClr val="808080"/>
              </a:solidFill>
              <a:miter lim="800000"/>
              <a:headEnd/>
              <a:tailEnd/>
            </a:ln>
          </p:spPr>
          <p:txBody>
            <a:bodyPr lIns="68416" tIns="34208" rIns="68416" bIns="34208" anchor="ctr"/>
            <a:lstStyle>
              <a:lvl1pPr marL="1160463" indent="-454025" defTabSz="684213">
                <a:tabLst>
                  <a:tab pos="736600" algn="l"/>
                </a:tabLs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684213">
                <a:tabLst>
                  <a:tab pos="736600" algn="l"/>
                </a:tabLs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684213">
                <a:tabLst>
                  <a:tab pos="736600" algn="l"/>
                </a:tabLs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684213">
                <a:tabLst>
                  <a:tab pos="736600" algn="l"/>
                </a:tabLs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684213">
                <a:tabLst>
                  <a:tab pos="736600" algn="l"/>
                </a:tabLs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6600" algn="l"/>
                </a:tabLs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6600" algn="l"/>
                </a:tabLs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6600" algn="l"/>
                </a:tabLs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6600" algn="l"/>
                </a:tabLs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1049337" indent="-342900" eaLnBrk="1" hangingPunct="1">
                <a:lnSpc>
                  <a:spcPct val="120000"/>
                </a:lnSpc>
                <a:buAutoNum type="arabicPeriod"/>
              </a:pPr>
              <a:r>
                <a:rPr lang="en-US" altLang="ko-KR" sz="16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Overview</a:t>
              </a:r>
            </a:p>
            <a:p>
              <a:pPr marL="1049337" indent="-342900" eaLnBrk="1" hangingPunct="1">
                <a:lnSpc>
                  <a:spcPct val="120000"/>
                </a:lnSpc>
                <a:buAutoNum type="arabicPeriod"/>
              </a:pPr>
              <a:r>
                <a:rPr lang="en-US" altLang="ko-KR" sz="16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Composition of Analysis/Design </a:t>
              </a:r>
              <a:r>
                <a:rPr lang="en-US" altLang="ko-KR" sz="1600" b="1" dirty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Documentation </a:t>
              </a:r>
              <a:endParaRPr lang="en-US" altLang="ko-KR" sz="16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endParaRPr>
            </a:p>
            <a:p>
              <a:pPr marL="1049337" indent="-342900" eaLnBrk="1" hangingPunct="1">
                <a:lnSpc>
                  <a:spcPct val="120000"/>
                </a:lnSpc>
                <a:buAutoNum type="arabicPeriod"/>
              </a:pPr>
              <a:r>
                <a:rPr lang="en-US" altLang="ko-KR" sz="16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Separation of </a:t>
              </a:r>
              <a:r>
                <a:rPr lang="en-US" altLang="ko-KR" sz="1600" b="1" dirty="0" err="1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SyRS</a:t>
              </a:r>
              <a:endParaRPr lang="en-US" altLang="ko-KR" sz="16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endParaRPr>
            </a:p>
            <a:p>
              <a:pPr marL="1049337" indent="-342900" eaLnBrk="1" hangingPunct="1">
                <a:lnSpc>
                  <a:spcPct val="120000"/>
                </a:lnSpc>
                <a:buAutoNum type="arabicPeriod"/>
              </a:pPr>
              <a:r>
                <a:rPr lang="en-US" altLang="ko-KR" sz="16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Separation of SRS</a:t>
              </a:r>
            </a:p>
            <a:p>
              <a:pPr marL="1049337" indent="-342900" eaLnBrk="1" hangingPunct="1">
                <a:lnSpc>
                  <a:spcPct val="120000"/>
                </a:lnSpc>
                <a:buAutoNum type="arabicPeriod"/>
              </a:pPr>
              <a:r>
                <a:rPr lang="en-US" altLang="ko-KR" sz="16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Separation of HLD</a:t>
              </a:r>
            </a:p>
            <a:p>
              <a:pPr marL="1049337" indent="-342900" eaLnBrk="1" hangingPunct="1">
                <a:lnSpc>
                  <a:spcPct val="120000"/>
                </a:lnSpc>
                <a:buAutoNum type="arabicPeriod"/>
              </a:pPr>
              <a:r>
                <a:rPr lang="en-US" altLang="ko-KR" sz="16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Integration </a:t>
              </a:r>
              <a:r>
                <a:rPr lang="en-US" altLang="ko-KR" sz="1600" b="1" dirty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of </a:t>
              </a:r>
              <a:r>
                <a:rPr lang="en-US" altLang="ko-KR" sz="16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SDD</a:t>
              </a:r>
            </a:p>
            <a:p>
              <a:pPr marL="1049337" indent="-342900" eaLnBrk="1" hangingPunct="1">
                <a:lnSpc>
                  <a:spcPct val="120000"/>
                </a:lnSpc>
                <a:buAutoNum type="arabicPeriod"/>
              </a:pPr>
              <a:r>
                <a:rPr lang="en-US" altLang="ko-KR" sz="16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Example </a:t>
              </a:r>
              <a:r>
                <a:rPr lang="en-US" altLang="ko-KR" sz="1600" b="1" dirty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of </a:t>
              </a:r>
              <a:r>
                <a:rPr lang="en-US" altLang="ko-KR" sz="16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Documentation Composition by SW Structure type</a:t>
              </a:r>
            </a:p>
            <a:p>
              <a:pPr marL="1489074" lvl="3" indent="-342900" eaLnBrk="1" hangingPunct="1">
                <a:lnSpc>
                  <a:spcPct val="120000"/>
                </a:lnSpc>
                <a:buAutoNum type="arabicPeriod"/>
              </a:pPr>
              <a:r>
                <a:rPr lang="en-US" altLang="ko-KR" sz="16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SW </a:t>
              </a:r>
              <a:r>
                <a:rPr lang="en-US" altLang="ko-KR" sz="1600" b="1" dirty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Structure Type A-CSD </a:t>
              </a:r>
              <a:r>
                <a:rPr lang="en-US" altLang="ko-KR" sz="16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Example</a:t>
              </a:r>
            </a:p>
            <a:p>
              <a:pPr marL="1489074" lvl="3" indent="-342900" eaLnBrk="1" hangingPunct="1">
                <a:lnSpc>
                  <a:spcPct val="120000"/>
                </a:lnSpc>
                <a:buAutoNum type="arabicPeriod"/>
              </a:pPr>
              <a:r>
                <a:rPr lang="en-US" altLang="ko-KR" sz="16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SW </a:t>
              </a:r>
              <a:r>
                <a:rPr lang="en-US" altLang="ko-KR" sz="1600" b="1" dirty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Structure Type B-HUD </a:t>
              </a:r>
              <a:r>
                <a:rPr lang="en-US" altLang="ko-KR" sz="16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Example</a:t>
              </a:r>
            </a:p>
            <a:p>
              <a:pPr marL="1489074" lvl="3" indent="-342900" eaLnBrk="1" hangingPunct="1">
                <a:lnSpc>
                  <a:spcPct val="120000"/>
                </a:lnSpc>
                <a:buAutoNum type="arabicPeriod"/>
              </a:pPr>
              <a:r>
                <a:rPr lang="en-US" altLang="ko-KR" sz="16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SW </a:t>
              </a:r>
              <a:r>
                <a:rPr lang="en-US" altLang="ko-KR" sz="1600" b="1" dirty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Structure Type C-ADAS </a:t>
              </a:r>
              <a:r>
                <a:rPr lang="en-US" altLang="ko-KR" sz="16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Example</a:t>
              </a:r>
            </a:p>
            <a:p>
              <a:pPr marL="1489074" lvl="3" indent="-342900" eaLnBrk="1" hangingPunct="1">
                <a:lnSpc>
                  <a:spcPct val="120000"/>
                </a:lnSpc>
                <a:buAutoNum type="arabicPeriod"/>
              </a:pPr>
              <a:r>
                <a:rPr lang="en-US" altLang="ko-KR" sz="16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SW </a:t>
              </a:r>
              <a:r>
                <a:rPr lang="en-US" altLang="ko-KR" sz="1600" b="1" dirty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Structure Type D-AVN </a:t>
              </a:r>
              <a:r>
                <a:rPr lang="en-US" altLang="ko-KR" sz="16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Example</a:t>
              </a:r>
            </a:p>
            <a:p>
              <a:pPr marL="1489074" lvl="3" indent="-342900" eaLnBrk="1" hangingPunct="1">
                <a:lnSpc>
                  <a:spcPct val="120000"/>
                </a:lnSpc>
                <a:buAutoNum type="arabicPeriod"/>
              </a:pPr>
              <a:r>
                <a:rPr lang="en-US" altLang="ko-KR" sz="16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SW </a:t>
              </a:r>
              <a:r>
                <a:rPr lang="en-US" altLang="ko-KR" sz="1600" b="1" dirty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Structure Type E-Telematics </a:t>
              </a:r>
              <a:r>
                <a:rPr lang="en-US" altLang="ko-KR" sz="16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Example</a:t>
              </a:r>
            </a:p>
            <a:p>
              <a:pPr marL="706437" indent="0" eaLnBrk="1" hangingPunct="1">
                <a:lnSpc>
                  <a:spcPct val="120000"/>
                </a:lnSpc>
              </a:pPr>
              <a:r>
                <a:rPr lang="en-US" altLang="ko-KR" sz="16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APPENDIX </a:t>
              </a:r>
              <a:r>
                <a:rPr lang="en-US" altLang="ko-KR" sz="1600" b="1" dirty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1. </a:t>
              </a:r>
              <a:r>
                <a:rPr lang="en-US" altLang="ko-KR" sz="16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EA and Automatic </a:t>
              </a:r>
              <a:r>
                <a:rPr lang="en-US" altLang="ko-KR" sz="1600" b="1" dirty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creation </a:t>
              </a:r>
              <a:r>
                <a:rPr lang="en-US" altLang="ko-KR" sz="16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of documentation</a:t>
              </a:r>
            </a:p>
            <a:p>
              <a:pPr marL="706437" indent="0" eaLnBrk="1" hangingPunct="1">
                <a:lnSpc>
                  <a:spcPct val="120000"/>
                </a:lnSpc>
              </a:pPr>
              <a:r>
                <a:rPr lang="en-US" altLang="ko-KR" sz="16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APPENDIX </a:t>
              </a:r>
              <a:r>
                <a:rPr lang="en-US" altLang="ko-KR" sz="1600" b="1" dirty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2. Traceability </a:t>
              </a:r>
              <a:r>
                <a:rPr lang="en-US" altLang="ko-KR" sz="16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Module Setup </a:t>
              </a:r>
              <a:r>
                <a:rPr lang="en-US" altLang="ko-KR" sz="1600" b="1" dirty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(Doors)</a:t>
              </a:r>
            </a:p>
          </p:txBody>
        </p:sp>
      </p:grp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3F547D-40EB-4492-B403-DBC46F773230}" type="slidenum">
              <a:rPr lang="ko-KR" altLang="en-US" smtClean="0"/>
              <a:pPr>
                <a:defRPr/>
              </a:pPr>
              <a:t>2</a:t>
            </a:fld>
            <a:endParaRPr lang="ko-KR" alt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3F547D-40EB-4492-B403-DBC46F773230}" type="slidenum">
              <a:rPr lang="ko-KR" altLang="en-US" smtClean="0"/>
              <a:pPr>
                <a:defRPr/>
              </a:pPr>
              <a:t>3</a:t>
            </a:fld>
            <a:endParaRPr lang="ko-KR" altLang="en-US" dirty="0"/>
          </a:p>
        </p:txBody>
      </p:sp>
      <p:sp>
        <p:nvSpPr>
          <p:cNvPr id="7" name="제목 1"/>
          <p:cNvSpPr txBox="1">
            <a:spLocks/>
          </p:cNvSpPr>
          <p:nvPr/>
        </p:nvSpPr>
        <p:spPr bwMode="auto">
          <a:xfrm>
            <a:off x="128588" y="115888"/>
            <a:ext cx="5184775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1"/>
            <a:r>
              <a:rPr lang="en-US" altLang="ko-KR" sz="24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1. Overview</a:t>
            </a:r>
            <a:endParaRPr lang="ko-KR" altLang="en-US" sz="2400" b="1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8" name="내용 개체 틀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9536058"/>
              </p:ext>
            </p:extLst>
          </p:nvPr>
        </p:nvGraphicFramePr>
        <p:xfrm>
          <a:off x="344488" y="2216299"/>
          <a:ext cx="9244011" cy="3040993"/>
        </p:xfrm>
        <a:graphic>
          <a:graphicData uri="http://schemas.openxmlformats.org/drawingml/2006/table">
            <a:tbl>
              <a:tblPr/>
              <a:tblGrid>
                <a:gridCol w="1296144"/>
                <a:gridCol w="3434226"/>
                <a:gridCol w="1390310"/>
                <a:gridCol w="3123331"/>
              </a:tblGrid>
              <a:tr h="231841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Term</a:t>
                      </a:r>
                      <a:endParaRPr kumimoji="0" lang="ko-KR" altLang="ko-K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Definition</a:t>
                      </a:r>
                      <a:endParaRPr kumimoji="0" lang="ko-KR" altLang="ko-KR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Term</a:t>
                      </a:r>
                      <a:endParaRPr kumimoji="0" lang="ko-KR" altLang="ko-KR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Definition</a:t>
                      </a:r>
                      <a:endParaRPr kumimoji="0" lang="ko-KR" altLang="ko-KR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</a:tr>
              <a:tr h="203616">
                <a:tc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en-US" altLang="ko-KR" sz="1200" b="0" i="0" kern="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CRS</a:t>
                      </a:r>
                      <a:endParaRPr lang="ko-KR" sz="1200" b="0" i="0" kern="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en-US" altLang="ko-KR" sz="1200" b="0" i="0" kern="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Customer Requirements Specification</a:t>
                      </a:r>
                      <a:endParaRPr lang="ko-KR" sz="1200" b="0" i="0" kern="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en-US" altLang="ko-KR" sz="1200" b="0" i="0" kern="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CSD</a:t>
                      </a:r>
                      <a:endParaRPr lang="ko-KR" sz="1200" b="0" i="0" kern="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en-US" altLang="ko-KR" sz="1200" b="0" i="0" kern="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Center Stack Display</a:t>
                      </a:r>
                      <a:endParaRPr lang="ko-KR" sz="1200" b="0" i="0" kern="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3616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SysRS</a:t>
                      </a: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kern="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System Requirements Specification</a:t>
                      </a:r>
                      <a:endParaRPr lang="ko-KR" altLang="ko-KR" sz="1200" b="0" i="0" kern="10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HUD</a:t>
                      </a: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Head Up Display</a:t>
                      </a:r>
                      <a:endParaRPr kumimoji="0" lang="ko-KR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3616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SRS</a:t>
                      </a: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kern="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Software Requirements Specification</a:t>
                      </a:r>
                      <a:endParaRPr lang="ko-KR" altLang="ko-KR" sz="1200" b="0" i="0" kern="10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AVN</a:t>
                      </a: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Audio Video Navigation</a:t>
                      </a: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3616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SysAD</a:t>
                      </a: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kern="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System Architecture Design</a:t>
                      </a:r>
                      <a:endParaRPr lang="ko-KR" altLang="ko-KR" sz="1200" b="0" i="0" kern="10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ADAS</a:t>
                      </a: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Advanced Driver Assistant System</a:t>
                      </a: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3616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SAD</a:t>
                      </a: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kern="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Software Architecture Design</a:t>
                      </a:r>
                      <a:endParaRPr lang="ko-KR" altLang="ko-KR" sz="1200" b="0" i="0" kern="10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HLD</a:t>
                      </a: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High Level Design (Interface design between components)</a:t>
                      </a: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3616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SDD</a:t>
                      </a: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kern="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Software Detailed Design</a:t>
                      </a:r>
                      <a:endParaRPr lang="ko-KR" altLang="ko-KR" sz="1200" b="0" i="0" kern="10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UC</a:t>
                      </a: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Use Case</a:t>
                      </a: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361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UML</a:t>
                      </a: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kern="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Unified Modeling Language</a:t>
                      </a:r>
                      <a:endParaRPr lang="ko-KR" altLang="ko-KR" sz="1200" b="0" i="0" kern="10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SD</a:t>
                      </a: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Sequence Diagram</a:t>
                      </a: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361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EA</a:t>
                      </a: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kern="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Enterprise Architect (UML</a:t>
                      </a:r>
                      <a:r>
                        <a:rPr lang="en-US" altLang="ko-KR" sz="1200" b="0" i="0" kern="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tool)</a:t>
                      </a:r>
                      <a:endParaRPr lang="ko-KR" altLang="ko-KR" sz="1200" b="0" i="0" kern="10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SW</a:t>
                      </a: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Software</a:t>
                      </a: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3616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Class structure</a:t>
                      </a:r>
                      <a:r>
                        <a:rPr kumimoji="0" lang="ko-KR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SW : SW is a</a:t>
                      </a:r>
                      <a:r>
                        <a:rPr kumimoji="0" lang="ko-KR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set of classes</a:t>
                      </a: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ko-KR" sz="1200" b="0" i="0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3616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Component structure</a:t>
                      </a:r>
                      <a:r>
                        <a:rPr kumimoji="0" lang="ko-KR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SW : SW is a set of components</a:t>
                      </a: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ko-KR" sz="1200" b="0" i="0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3616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Feature : Set of functions</a:t>
                      </a: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ko-KR" sz="1200" b="0" i="0" kern="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03616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Component : Set of classes. SAD describes components. SDD is written for each component.</a:t>
                      </a: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03616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Class : Set of attributes and operations</a:t>
                      </a: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TextBox 4"/>
          <p:cNvSpPr txBox="1">
            <a:spLocks noChangeArrowheads="1"/>
          </p:cNvSpPr>
          <p:nvPr/>
        </p:nvSpPr>
        <p:spPr bwMode="auto">
          <a:xfrm>
            <a:off x="239713" y="1844824"/>
            <a:ext cx="273367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/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Glossary</a:t>
            </a:r>
            <a:endParaRPr lang="ko-KR" altLang="en-US" sz="16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10" name="내용 개체 틀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43874783"/>
              </p:ext>
            </p:extLst>
          </p:nvPr>
        </p:nvGraphicFramePr>
        <p:xfrm>
          <a:off x="346075" y="764704"/>
          <a:ext cx="9242425" cy="1051494"/>
        </p:xfrm>
        <a:graphic>
          <a:graphicData uri="http://schemas.openxmlformats.org/drawingml/2006/table">
            <a:tbl>
              <a:tblPr/>
              <a:tblGrid>
                <a:gridCol w="1294557"/>
                <a:gridCol w="7947868"/>
              </a:tblGrid>
              <a:tr h="612000">
                <a:tc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en-US" altLang="ko-KR" sz="1200" b="1" kern="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Purpose</a:t>
                      </a:r>
                      <a:r>
                        <a:rPr lang="en-US" altLang="ko-KR" sz="1200" b="1" kern="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</a:t>
                      </a:r>
                      <a:endParaRPr lang="ko-KR" sz="1200" b="1" kern="100" dirty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44" marR="69944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en-US" altLang="ko-KR" sz="1200" b="0" kern="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This document is a guide to help you adjust/use the analysis/design template in a project according to the project type or SW structure. This document provides examples for five representative SW types. Analysis/design template adjustment is led by the project SW architect and decided by consensus within the development team.</a:t>
                      </a:r>
                      <a:endParaRPr lang="ko-KR" altLang="ko-KR" sz="1200" b="0" kern="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50" marR="69950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997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kern="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Scope</a:t>
                      </a:r>
                      <a:endParaRPr lang="ko-KR" altLang="ko-KR" sz="1200" b="1" kern="10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44" marR="69944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kern="100" dirty="0" smtClean="0">
                          <a:solidFill>
                            <a:schemeClr val="accent4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Projects applying the VS Standard</a:t>
                      </a:r>
                      <a:r>
                        <a:rPr lang="en-US" altLang="ko-KR" sz="1200" b="0" i="0" kern="100" baseline="0" dirty="0" smtClean="0">
                          <a:solidFill>
                            <a:schemeClr val="accent4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Template</a:t>
                      </a:r>
                      <a:r>
                        <a:rPr lang="ko-KR" altLang="en-US" sz="1200" b="0" i="0" kern="100" smtClean="0">
                          <a:solidFill>
                            <a:schemeClr val="accent4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1200" b="0" i="0" kern="100" dirty="0" smtClean="0">
                          <a:solidFill>
                            <a:schemeClr val="accent4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SysRS v2.0, SysAD v2.0, SRS v3.0,</a:t>
                      </a:r>
                      <a:r>
                        <a:rPr lang="en-US" altLang="ko-KR" sz="1200" b="0" i="0" kern="100" baseline="0" dirty="0" smtClean="0">
                          <a:solidFill>
                            <a:schemeClr val="accent4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 SAD(Type2), SDD(Type2)</a:t>
                      </a:r>
                      <a:endParaRPr lang="ko-KR" altLang="ko-KR" sz="1200" b="0" i="0" kern="100" dirty="0" smtClean="0">
                        <a:solidFill>
                          <a:schemeClr val="accent4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50" marR="69950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1" name="TextBox 4"/>
          <p:cNvSpPr txBox="1">
            <a:spLocks noChangeArrowheads="1"/>
          </p:cNvSpPr>
          <p:nvPr/>
        </p:nvSpPr>
        <p:spPr bwMode="auto">
          <a:xfrm>
            <a:off x="267545" y="5335468"/>
            <a:ext cx="9320954" cy="1261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/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References</a:t>
            </a:r>
          </a:p>
          <a:p>
            <a:pPr eaLnBrk="1" latinLnBrk="1" hangingPunct="1"/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[1] LGE, VS SysRS template, v2.0</a:t>
            </a:r>
          </a:p>
          <a:p>
            <a:pPr eaLnBrk="1" latinLnBrk="1" hangingPunct="1"/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[2]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LGE,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VS SysAD template,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v2.0</a:t>
            </a:r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latinLnBrk="1" hangingPunct="1"/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[3]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LGE,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VS SRS template, v3.0</a:t>
            </a:r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latinLnBrk="1" hangingPunct="1"/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[4]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LGE,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VS SAD template(type 2), v1.0</a:t>
            </a:r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eaLnBrk="1" latinLnBrk="1" hangingPunct="1"/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[5]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LGE,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VS SDD template(type 2), v1.0</a:t>
            </a:r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2. Composition of Analysis/Design Documentation 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00472" y="714356"/>
            <a:ext cx="9577064" cy="913758"/>
          </a:xfrm>
        </p:spPr>
        <p:txBody>
          <a:bodyPr/>
          <a:lstStyle/>
          <a:p>
            <a:pPr marL="88900" indent="-88900">
              <a:buFont typeface="Wingdings" panose="05000000000000000000" pitchFamily="2" charset="2"/>
              <a:buChar char="§"/>
            </a:pPr>
            <a:r>
              <a:rPr lang="en-US" altLang="ko-KR" sz="1500" dirty="0" smtClean="0">
                <a:cs typeface="Arial" panose="020B0604020202020204" pitchFamily="34" charset="0"/>
              </a:rPr>
              <a:t> Class structure</a:t>
            </a:r>
            <a:r>
              <a:rPr lang="ko-KR" altLang="en-US" sz="1500" smtClean="0">
                <a:cs typeface="Arial" panose="020B0604020202020204" pitchFamily="34" charset="0"/>
              </a:rPr>
              <a:t> </a:t>
            </a:r>
            <a:r>
              <a:rPr lang="en-US" altLang="ko-KR" sz="1500" dirty="0" smtClean="0">
                <a:cs typeface="Arial" panose="020B0604020202020204" pitchFamily="34" charset="0"/>
              </a:rPr>
              <a:t>SW:</a:t>
            </a:r>
            <a:r>
              <a:rPr lang="ko-KR" altLang="en-US" sz="1500" smtClean="0">
                <a:cs typeface="Arial" panose="020B0604020202020204" pitchFamily="34" charset="0"/>
              </a:rPr>
              <a:t> </a:t>
            </a:r>
            <a:r>
              <a:rPr lang="en-US" altLang="ko-KR" sz="1500" dirty="0" smtClean="0">
                <a:cs typeface="Arial" panose="020B0604020202020204" pitchFamily="34" charset="0"/>
              </a:rPr>
              <a:t>Relationship between SAD(structure)-SDD(dynamic design/Unit design), </a:t>
            </a:r>
          </a:p>
          <a:p>
            <a:pPr marL="88900" indent="-88900">
              <a:buFont typeface="Wingdings" panose="05000000000000000000" pitchFamily="2" charset="2"/>
              <a:buChar char="§"/>
            </a:pPr>
            <a:r>
              <a:rPr lang="ko-KR" altLang="en-US" sz="1500" dirty="0" smtClean="0">
                <a:cs typeface="Arial" panose="020B0604020202020204" pitchFamily="34" charset="0"/>
              </a:rPr>
              <a:t> </a:t>
            </a:r>
            <a:r>
              <a:rPr lang="en-US" altLang="ko-KR" sz="1500" dirty="0" smtClean="0">
                <a:cs typeface="Arial" panose="020B0604020202020204" pitchFamily="34" charset="0"/>
              </a:rPr>
              <a:t>Component structure</a:t>
            </a:r>
            <a:r>
              <a:rPr lang="ko-KR" altLang="en-US" sz="1500" smtClean="0">
                <a:cs typeface="Arial" panose="020B0604020202020204" pitchFamily="34" charset="0"/>
              </a:rPr>
              <a:t> </a:t>
            </a:r>
            <a:r>
              <a:rPr lang="en-US" altLang="ko-KR" sz="1500" dirty="0" smtClean="0">
                <a:cs typeface="Arial" panose="020B0604020202020204" pitchFamily="34" charset="0"/>
              </a:rPr>
              <a:t>SW: Relationship between SAD(structure</a:t>
            </a:r>
            <a:r>
              <a:rPr lang="en-US" altLang="ko-KR" sz="1500" dirty="0">
                <a:cs typeface="Arial" panose="020B0604020202020204" pitchFamily="34" charset="0"/>
              </a:rPr>
              <a:t>)-</a:t>
            </a:r>
            <a:r>
              <a:rPr lang="en-US" altLang="ko-KR" sz="1500" dirty="0" smtClean="0">
                <a:cs typeface="Arial" panose="020B0604020202020204" pitchFamily="34" charset="0"/>
              </a:rPr>
              <a:t>HLD-SDD(dynamic </a:t>
            </a:r>
            <a:r>
              <a:rPr lang="en-US" altLang="ko-KR" sz="1500" dirty="0">
                <a:cs typeface="Arial" panose="020B0604020202020204" pitchFamily="34" charset="0"/>
              </a:rPr>
              <a:t>design/Unit </a:t>
            </a:r>
            <a:r>
              <a:rPr lang="en-US" altLang="ko-KR" sz="1500" dirty="0" smtClean="0">
                <a:cs typeface="Arial" panose="020B0604020202020204" pitchFamily="34" charset="0"/>
              </a:rPr>
              <a:t>design)  </a:t>
            </a:r>
          </a:p>
          <a:p>
            <a:pPr marL="0" indent="0"/>
            <a:r>
              <a:rPr lang="en-US" altLang="ko-KR" sz="1400" dirty="0" smtClean="0">
                <a:cs typeface="Arial" panose="020B0604020202020204" pitchFamily="34" charset="0"/>
              </a:rPr>
              <a:t>  - HLD defines interface(sequence) between components and is included in SAD or separated.</a:t>
            </a:r>
            <a:endParaRPr lang="ko-KR" altLang="en-US" sz="1400" dirty="0">
              <a:cs typeface="Arial" panose="020B0604020202020204" pitchFamily="34" charset="0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3F547D-40EB-4492-B403-DBC46F773230}" type="slidenum">
              <a:rPr lang="ko-KR" altLang="en-US" smtClean="0"/>
              <a:pPr>
                <a:defRPr/>
              </a:pPr>
              <a:t>4</a:t>
            </a:fld>
            <a:endParaRPr lang="ko-KR" altLang="en-US" dirty="0"/>
          </a:p>
        </p:txBody>
      </p:sp>
      <p:sp>
        <p:nvSpPr>
          <p:cNvPr id="7" name="직사각형 6"/>
          <p:cNvSpPr/>
          <p:nvPr/>
        </p:nvSpPr>
        <p:spPr bwMode="auto">
          <a:xfrm>
            <a:off x="488504" y="2348880"/>
            <a:ext cx="792088" cy="432048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latinLnBrk="0"/>
            <a:r>
              <a:rPr kumimoji="0"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OEM Req.</a:t>
            </a:r>
            <a:endParaRPr kumimoji="0"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1712640" y="2358040"/>
            <a:ext cx="1080000" cy="432048"/>
          </a:xfrm>
          <a:prstGeom prst="rect">
            <a:avLst/>
          </a:prstGeom>
          <a:solidFill>
            <a:srgbClr val="FFC000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 rtlCol="0" anchor="ctr"/>
          <a:lstStyle/>
          <a:p>
            <a:pPr algn="ctr"/>
            <a:r>
              <a:rPr kumimoji="0" lang="en-US" altLang="ko-KR" sz="1200" b="1" dirty="0">
                <a:latin typeface="맑은 고딕" pitchFamily="50" charset="-127"/>
                <a:ea typeface="맑은 고딕" pitchFamily="50" charset="-127"/>
              </a:rPr>
              <a:t>CRS</a:t>
            </a:r>
            <a:endParaRPr kumimoji="0" lang="ko-KR" altLang="en-US" sz="1200" b="1">
              <a:latin typeface="맑은 고딕" pitchFamily="50" charset="-127"/>
              <a:ea typeface="맑은 고딕" pitchFamily="50" charset="-127"/>
            </a:endParaRPr>
          </a:p>
          <a:p>
            <a:pPr algn="ctr" latinLnBrk="0"/>
            <a:r>
              <a:rPr kumimoji="0"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Stakeholder </a:t>
            </a:r>
            <a:r>
              <a:rPr kumimoji="0"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Req</a:t>
            </a:r>
            <a:r>
              <a:rPr kumimoji="0"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)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1712640" y="3075067"/>
            <a:ext cx="1080000" cy="432048"/>
          </a:xfrm>
          <a:prstGeom prst="rect">
            <a:avLst/>
          </a:prstGeom>
          <a:solidFill>
            <a:srgbClr val="FFC000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latinLnBrk="0"/>
            <a:r>
              <a:rPr kumimoji="0"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ysRS</a:t>
            </a:r>
            <a:endParaRPr kumimoji="0"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1712640" y="3792094"/>
            <a:ext cx="1080000" cy="432048"/>
          </a:xfrm>
          <a:prstGeom prst="rect">
            <a:avLst/>
          </a:prstGeom>
          <a:solidFill>
            <a:srgbClr val="FFC000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latinLnBrk="0"/>
            <a:r>
              <a:rPr kumimoji="0"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</a:t>
            </a:r>
            <a:r>
              <a:rPr kumimoji="0"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RS</a:t>
            </a:r>
            <a:endParaRPr kumimoji="0"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1" name="직사각형 10"/>
          <p:cNvSpPr/>
          <p:nvPr/>
        </p:nvSpPr>
        <p:spPr bwMode="auto">
          <a:xfrm>
            <a:off x="3152920" y="4149080"/>
            <a:ext cx="1080000" cy="432048"/>
          </a:xfrm>
          <a:prstGeom prst="rect">
            <a:avLst/>
          </a:prstGeom>
          <a:solidFill>
            <a:srgbClr val="FFC000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latinLnBrk="0"/>
            <a:r>
              <a:rPr kumimoji="0"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AD</a:t>
            </a:r>
            <a:endParaRPr kumimoji="0"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1712640" y="4509120"/>
            <a:ext cx="1080000" cy="432048"/>
          </a:xfrm>
          <a:prstGeom prst="rect">
            <a:avLst/>
          </a:prstGeom>
          <a:solidFill>
            <a:srgbClr val="FFC000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latinLnBrk="0"/>
            <a:r>
              <a:rPr kumimoji="0"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DD</a:t>
            </a:r>
            <a:endParaRPr kumimoji="0"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3152920" y="3429000"/>
            <a:ext cx="1080000" cy="432048"/>
          </a:xfrm>
          <a:prstGeom prst="rect">
            <a:avLst/>
          </a:prstGeom>
          <a:solidFill>
            <a:srgbClr val="FFC000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latinLnBrk="0"/>
            <a:r>
              <a:rPr kumimoji="0"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ysAD</a:t>
            </a:r>
            <a:endParaRPr kumimoji="0"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17" name="직선 화살표 연결선 16"/>
          <p:cNvCxnSpPr>
            <a:stCxn id="7" idx="3"/>
            <a:endCxn id="8" idx="1"/>
          </p:cNvCxnSpPr>
          <p:nvPr/>
        </p:nvCxnSpPr>
        <p:spPr bwMode="auto">
          <a:xfrm>
            <a:off x="1280592" y="2564904"/>
            <a:ext cx="432048" cy="916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 type="non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1" name="직선 연결선 20"/>
          <p:cNvCxnSpPr>
            <a:stCxn id="8" idx="2"/>
            <a:endCxn id="9" idx="0"/>
          </p:cNvCxnSpPr>
          <p:nvPr/>
        </p:nvCxnSpPr>
        <p:spPr bwMode="auto">
          <a:xfrm>
            <a:off x="2252640" y="2790088"/>
            <a:ext cx="0" cy="284979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non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3" name="직선 연결선 22"/>
          <p:cNvCxnSpPr>
            <a:stCxn id="9" idx="2"/>
            <a:endCxn id="10" idx="0"/>
          </p:cNvCxnSpPr>
          <p:nvPr/>
        </p:nvCxnSpPr>
        <p:spPr bwMode="auto">
          <a:xfrm>
            <a:off x="2252640" y="3507115"/>
            <a:ext cx="0" cy="284979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non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직선 연결선 25"/>
          <p:cNvCxnSpPr>
            <a:stCxn id="10" idx="2"/>
            <a:endCxn id="12" idx="0"/>
          </p:cNvCxnSpPr>
          <p:nvPr/>
        </p:nvCxnSpPr>
        <p:spPr bwMode="auto">
          <a:xfrm>
            <a:off x="2252640" y="4224142"/>
            <a:ext cx="0" cy="284978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non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" name="직선 연결선 27"/>
          <p:cNvCxnSpPr>
            <a:stCxn id="9" idx="3"/>
            <a:endCxn id="13" idx="1"/>
          </p:cNvCxnSpPr>
          <p:nvPr/>
        </p:nvCxnSpPr>
        <p:spPr bwMode="auto">
          <a:xfrm>
            <a:off x="2792640" y="3291091"/>
            <a:ext cx="360280" cy="353933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non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" name="직선 연결선 29"/>
          <p:cNvCxnSpPr>
            <a:stCxn id="10" idx="3"/>
            <a:endCxn id="13" idx="1"/>
          </p:cNvCxnSpPr>
          <p:nvPr/>
        </p:nvCxnSpPr>
        <p:spPr bwMode="auto">
          <a:xfrm flipV="1">
            <a:off x="2792640" y="3645024"/>
            <a:ext cx="360280" cy="363094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non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2" name="직선 연결선 31"/>
          <p:cNvCxnSpPr>
            <a:stCxn id="10" idx="3"/>
            <a:endCxn id="11" idx="1"/>
          </p:cNvCxnSpPr>
          <p:nvPr/>
        </p:nvCxnSpPr>
        <p:spPr bwMode="auto">
          <a:xfrm>
            <a:off x="2792640" y="4008118"/>
            <a:ext cx="360280" cy="356986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non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4" name="직선 연결선 33"/>
          <p:cNvCxnSpPr>
            <a:stCxn id="12" idx="3"/>
            <a:endCxn id="11" idx="1"/>
          </p:cNvCxnSpPr>
          <p:nvPr/>
        </p:nvCxnSpPr>
        <p:spPr bwMode="auto">
          <a:xfrm flipV="1">
            <a:off x="2792640" y="4365104"/>
            <a:ext cx="360280" cy="36004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solid"/>
            <a:round/>
            <a:headEnd/>
            <a:tailEnd type="non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5" name="TextBox 34"/>
          <p:cNvSpPr txBox="1"/>
          <p:nvPr/>
        </p:nvSpPr>
        <p:spPr>
          <a:xfrm>
            <a:off x="992560" y="1825079"/>
            <a:ext cx="31882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Class structure</a:t>
            </a:r>
            <a:r>
              <a:rPr lang="ko-KR" altLang="en-US" sz="1400" b="1" u="sng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Basic composition)</a:t>
            </a:r>
            <a:endParaRPr lang="ko-KR" altLang="en-US" sz="1400" b="1" u="sng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6" name="직사각형 35"/>
          <p:cNvSpPr/>
          <p:nvPr/>
        </p:nvSpPr>
        <p:spPr bwMode="auto">
          <a:xfrm>
            <a:off x="4160912" y="2370819"/>
            <a:ext cx="792088" cy="432048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latinLnBrk="0"/>
            <a:r>
              <a:rPr kumimoji="0"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OEM Req.</a:t>
            </a:r>
            <a:endParaRPr kumimoji="0"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7" name="직사각형 36"/>
          <p:cNvSpPr/>
          <p:nvPr/>
        </p:nvSpPr>
        <p:spPr bwMode="auto">
          <a:xfrm>
            <a:off x="5393070" y="2379979"/>
            <a:ext cx="1080000" cy="432048"/>
          </a:xfrm>
          <a:prstGeom prst="rect">
            <a:avLst/>
          </a:prstGeom>
          <a:solidFill>
            <a:srgbClr val="FFC000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 rtlCol="0" anchor="ctr"/>
          <a:lstStyle/>
          <a:p>
            <a:pPr lvl="0" algn="ctr"/>
            <a:r>
              <a:rPr kumimoji="0" lang="en-US" altLang="ko-KR" sz="12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RS</a:t>
            </a:r>
            <a:endParaRPr kumimoji="0" lang="ko-KR" altLang="en-US" sz="1200" b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lvl="0" algn="ctr"/>
            <a:r>
              <a:rPr kumimoji="0"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Stakeholder Req.)</a:t>
            </a:r>
            <a:endParaRPr kumimoji="0" lang="ko-KR" altLang="en-US" sz="10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5390396" y="3085030"/>
            <a:ext cx="1080000" cy="432048"/>
          </a:xfrm>
          <a:prstGeom prst="rect">
            <a:avLst/>
          </a:prstGeom>
          <a:solidFill>
            <a:srgbClr val="FFC000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latinLnBrk="0"/>
            <a:r>
              <a:rPr kumimoji="0"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ysRS</a:t>
            </a:r>
            <a:endParaRPr kumimoji="0"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5387722" y="3790081"/>
            <a:ext cx="1080000" cy="432048"/>
          </a:xfrm>
          <a:prstGeom prst="rect">
            <a:avLst/>
          </a:prstGeom>
          <a:solidFill>
            <a:srgbClr val="FFC000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latinLnBrk="0"/>
            <a:r>
              <a:rPr kumimoji="0"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</a:t>
            </a:r>
            <a:r>
              <a:rPr kumimoji="0"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RS</a:t>
            </a:r>
            <a:endParaRPr kumimoji="0"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6825328" y="4149080"/>
            <a:ext cx="1080000" cy="432048"/>
          </a:xfrm>
          <a:prstGeom prst="rect">
            <a:avLst/>
          </a:prstGeom>
          <a:solidFill>
            <a:srgbClr val="FFC000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latinLnBrk="0"/>
            <a:r>
              <a:rPr kumimoji="0"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AD</a:t>
            </a:r>
            <a:endParaRPr kumimoji="0"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5385048" y="4495132"/>
            <a:ext cx="1080000" cy="432048"/>
          </a:xfrm>
          <a:prstGeom prst="rect">
            <a:avLst/>
          </a:prstGeom>
          <a:solidFill>
            <a:srgbClr val="FFC000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latinLnBrk="0"/>
            <a:r>
              <a:rPr kumimoji="0"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HLD**</a:t>
            </a:r>
            <a:endParaRPr kumimoji="0"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6825328" y="3388816"/>
            <a:ext cx="1080000" cy="432048"/>
          </a:xfrm>
          <a:prstGeom prst="rect">
            <a:avLst/>
          </a:prstGeom>
          <a:solidFill>
            <a:srgbClr val="FFC000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latinLnBrk="0"/>
            <a:r>
              <a:rPr kumimoji="0"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ysAD</a:t>
            </a:r>
            <a:endParaRPr kumimoji="0"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43" name="직선 화살표 연결선 42"/>
          <p:cNvCxnSpPr>
            <a:stCxn id="36" idx="3"/>
            <a:endCxn id="37" idx="1"/>
          </p:cNvCxnSpPr>
          <p:nvPr/>
        </p:nvCxnSpPr>
        <p:spPr bwMode="auto">
          <a:xfrm>
            <a:off x="4953000" y="2586843"/>
            <a:ext cx="440070" cy="916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 type="non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4" name="직선 연결선 43"/>
          <p:cNvCxnSpPr>
            <a:stCxn id="37" idx="2"/>
            <a:endCxn id="38" idx="0"/>
          </p:cNvCxnSpPr>
          <p:nvPr/>
        </p:nvCxnSpPr>
        <p:spPr bwMode="auto">
          <a:xfrm flipH="1">
            <a:off x="5930396" y="2812027"/>
            <a:ext cx="2674" cy="273003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non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5" name="직선 연결선 44"/>
          <p:cNvCxnSpPr>
            <a:stCxn id="38" idx="2"/>
            <a:endCxn id="39" idx="0"/>
          </p:cNvCxnSpPr>
          <p:nvPr/>
        </p:nvCxnSpPr>
        <p:spPr bwMode="auto">
          <a:xfrm flipH="1">
            <a:off x="5927722" y="3517078"/>
            <a:ext cx="2674" cy="273003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non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6" name="직선 연결선 45"/>
          <p:cNvCxnSpPr>
            <a:stCxn id="39" idx="2"/>
            <a:endCxn id="41" idx="0"/>
          </p:cNvCxnSpPr>
          <p:nvPr/>
        </p:nvCxnSpPr>
        <p:spPr bwMode="auto">
          <a:xfrm flipH="1">
            <a:off x="5925048" y="4222129"/>
            <a:ext cx="2674" cy="273003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non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7" name="직선 연결선 46"/>
          <p:cNvCxnSpPr>
            <a:stCxn id="38" idx="3"/>
            <a:endCxn id="42" idx="1"/>
          </p:cNvCxnSpPr>
          <p:nvPr/>
        </p:nvCxnSpPr>
        <p:spPr bwMode="auto">
          <a:xfrm>
            <a:off x="6470396" y="3301054"/>
            <a:ext cx="354932" cy="303786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non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8" name="직선 연결선 47"/>
          <p:cNvCxnSpPr>
            <a:stCxn id="39" idx="3"/>
            <a:endCxn id="42" idx="1"/>
          </p:cNvCxnSpPr>
          <p:nvPr/>
        </p:nvCxnSpPr>
        <p:spPr bwMode="auto">
          <a:xfrm flipV="1">
            <a:off x="6467722" y="3604840"/>
            <a:ext cx="357606" cy="40126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non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9" name="직선 연결선 48"/>
          <p:cNvCxnSpPr>
            <a:stCxn id="39" idx="3"/>
            <a:endCxn id="40" idx="1"/>
          </p:cNvCxnSpPr>
          <p:nvPr/>
        </p:nvCxnSpPr>
        <p:spPr bwMode="auto">
          <a:xfrm>
            <a:off x="6467722" y="4006105"/>
            <a:ext cx="357606" cy="358999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non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3" name="직사각형 52"/>
          <p:cNvSpPr/>
          <p:nvPr/>
        </p:nvSpPr>
        <p:spPr bwMode="auto">
          <a:xfrm>
            <a:off x="5387431" y="5200182"/>
            <a:ext cx="1080000" cy="432048"/>
          </a:xfrm>
          <a:prstGeom prst="rect">
            <a:avLst/>
          </a:prstGeom>
          <a:solidFill>
            <a:srgbClr val="FFC000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latinLnBrk="0"/>
            <a:r>
              <a:rPr kumimoji="0"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SDD</a:t>
            </a:r>
            <a:endParaRPr kumimoji="0"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5" name="자유형 54"/>
          <p:cNvSpPr/>
          <p:nvPr/>
        </p:nvSpPr>
        <p:spPr bwMode="auto">
          <a:xfrm>
            <a:off x="4808308" y="4091503"/>
            <a:ext cx="576469" cy="1353722"/>
          </a:xfrm>
          <a:custGeom>
            <a:avLst/>
            <a:gdLst>
              <a:gd name="connsiteX0" fmla="*/ 576469 w 576469"/>
              <a:gd name="connsiteY0" fmla="*/ 1769165 h 1769165"/>
              <a:gd name="connsiteX1" fmla="*/ 0 w 576469"/>
              <a:gd name="connsiteY1" fmla="*/ 874643 h 1769165"/>
              <a:gd name="connsiteX2" fmla="*/ 576469 w 576469"/>
              <a:gd name="connsiteY2" fmla="*/ 0 h 1769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6469" h="1769165">
                <a:moveTo>
                  <a:pt x="576469" y="1769165"/>
                </a:moveTo>
                <a:cubicBezTo>
                  <a:pt x="288234" y="1469334"/>
                  <a:pt x="0" y="1169504"/>
                  <a:pt x="0" y="874643"/>
                </a:cubicBezTo>
                <a:cubicBezTo>
                  <a:pt x="0" y="579782"/>
                  <a:pt x="288234" y="289891"/>
                  <a:pt x="576469" y="0"/>
                </a:cubicBezTo>
              </a:path>
            </a:pathLst>
          </a:custGeom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57" name="직선 연결선 56"/>
          <p:cNvCxnSpPr>
            <a:stCxn id="53" idx="3"/>
            <a:endCxn id="40" idx="2"/>
          </p:cNvCxnSpPr>
          <p:nvPr/>
        </p:nvCxnSpPr>
        <p:spPr bwMode="auto">
          <a:xfrm flipV="1">
            <a:off x="6467431" y="4581128"/>
            <a:ext cx="897897" cy="835078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solid"/>
            <a:round/>
            <a:headEnd/>
            <a:tailEnd type="non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9" name="직선 연결선 58"/>
          <p:cNvCxnSpPr>
            <a:stCxn id="53" idx="0"/>
            <a:endCxn id="41" idx="2"/>
          </p:cNvCxnSpPr>
          <p:nvPr/>
        </p:nvCxnSpPr>
        <p:spPr bwMode="auto">
          <a:xfrm flipH="1" flipV="1">
            <a:off x="5925048" y="4927180"/>
            <a:ext cx="2383" cy="273002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solid"/>
            <a:round/>
            <a:headEnd/>
            <a:tailEnd type="non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1" name="직선 연결선 60"/>
          <p:cNvCxnSpPr>
            <a:stCxn id="41" idx="3"/>
            <a:endCxn id="40" idx="1"/>
          </p:cNvCxnSpPr>
          <p:nvPr/>
        </p:nvCxnSpPr>
        <p:spPr bwMode="auto">
          <a:xfrm flipV="1">
            <a:off x="6465048" y="4365104"/>
            <a:ext cx="360280" cy="346052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solid"/>
            <a:round/>
            <a:headEnd/>
            <a:tailEnd type="non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2" name="TextBox 61"/>
          <p:cNvSpPr txBox="1"/>
          <p:nvPr/>
        </p:nvSpPr>
        <p:spPr>
          <a:xfrm>
            <a:off x="4540939" y="1825079"/>
            <a:ext cx="52714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Component structure</a:t>
            </a:r>
            <a:r>
              <a:rPr lang="ko-KR" altLang="en-US" sz="1400" b="1" u="sng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HLD is written separately from SAD)</a:t>
            </a:r>
            <a:endParaRPr lang="ko-KR" altLang="en-US" sz="1400" b="1" u="sng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66" name="직선 연결선 65"/>
          <p:cNvCxnSpPr/>
          <p:nvPr/>
        </p:nvCxnSpPr>
        <p:spPr bwMode="auto">
          <a:xfrm>
            <a:off x="7988107" y="5771095"/>
            <a:ext cx="450958" cy="1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non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7" name="TextBox 66"/>
          <p:cNvSpPr txBox="1"/>
          <p:nvPr/>
        </p:nvSpPr>
        <p:spPr>
          <a:xfrm>
            <a:off x="8380860" y="5631051"/>
            <a:ext cx="84350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Traceability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7947822" y="5089231"/>
            <a:ext cx="484278" cy="211977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latinLnBrk="0"/>
            <a:endParaRPr kumimoji="0"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8400738" y="5051169"/>
            <a:ext cx="127470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External document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7799280" y="4941168"/>
            <a:ext cx="1440000" cy="978495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latinLnBrk="0"/>
            <a:endParaRPr kumimoji="0"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7884620" y="4799545"/>
            <a:ext cx="732893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Legend</a:t>
            </a:r>
            <a:endParaRPr lang="ko-KR" altLang="en-US" sz="1200" b="1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7947822" y="5407273"/>
            <a:ext cx="484278" cy="211977"/>
          </a:xfrm>
          <a:prstGeom prst="rect">
            <a:avLst/>
          </a:prstGeom>
          <a:solidFill>
            <a:srgbClr val="FFC000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latinLnBrk="0"/>
            <a:endParaRPr kumimoji="0"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8400738" y="5373216"/>
            <a:ext cx="15167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LGE internal document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14379" y="5919663"/>
            <a:ext cx="928972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* Note: If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the organization/person in charge/creation time/content is different or dependent, it is recommended to separate the documents at a level that 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/>
            </a:r>
            <a:b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          can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be assigned to WBS. 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(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Individual documents at the same level can be merged into one for management after approval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)</a:t>
            </a:r>
            <a:b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** HLD (High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Level 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Design):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A document written by separating Interaction/Interface between components among SAD contents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1637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3</a:t>
            </a:r>
            <a:r>
              <a:rPr lang="en-US" altLang="ko-KR" dirty="0" smtClean="0"/>
              <a:t>. </a:t>
            </a:r>
            <a: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Separation of </a:t>
            </a:r>
            <a:r>
              <a:rPr lang="en-US" altLang="ko-KR" dirty="0" err="1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SyRS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344488" y="714356"/>
            <a:ext cx="9433048" cy="626412"/>
          </a:xfrm>
        </p:spPr>
        <p:txBody>
          <a:bodyPr/>
          <a:lstStyle/>
          <a:p>
            <a:pPr marL="0" indent="0"/>
            <a:r>
              <a:rPr lang="en-US" altLang="ko-KR" sz="1400" dirty="0" err="1"/>
              <a:t>SysRS</a:t>
            </a:r>
            <a:r>
              <a:rPr lang="en-US" altLang="ko-KR" sz="1400" dirty="0"/>
              <a:t> can be written for each system / subsystem*, part**, and feature.***  </a:t>
            </a:r>
            <a:r>
              <a:rPr lang="en-US" altLang="ko-KR" sz="1400" dirty="0" smtClean="0"/>
              <a:t/>
            </a:r>
            <a:br>
              <a:rPr lang="en-US" altLang="ko-KR" sz="1400" dirty="0" smtClean="0"/>
            </a:br>
            <a:r>
              <a:rPr lang="en-US" altLang="ko-KR" sz="1400" dirty="0" smtClean="0"/>
              <a:t>- </a:t>
            </a:r>
            <a:r>
              <a:rPr lang="en-US" altLang="ko-KR" sz="1400" dirty="0"/>
              <a:t>In case of </a:t>
            </a:r>
            <a:r>
              <a:rPr lang="en-US" altLang="ko-KR" sz="1400" dirty="0" smtClean="0"/>
              <a:t>making </a:t>
            </a:r>
            <a:r>
              <a:rPr lang="en-US" altLang="ko-KR" sz="1400" dirty="0"/>
              <a:t>a separate document, organize chapters/sections in the following structure</a:t>
            </a:r>
            <a:endParaRPr lang="ko-KR" altLang="en-US" sz="140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3F547D-40EB-4492-B403-DBC46F773230}" type="slidenum">
              <a:rPr lang="ko-KR" altLang="en-US" smtClean="0"/>
              <a:pPr>
                <a:defRPr/>
              </a:pPr>
              <a:t>5</a:t>
            </a:fld>
            <a:endParaRPr lang="ko-KR" alt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88504" y="1412776"/>
            <a:ext cx="28761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asic </a:t>
            </a:r>
            <a:r>
              <a:rPr lang="en-US" altLang="ko-KR" sz="1400" b="1" u="sng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yRS</a:t>
            </a:r>
            <a:endParaRPr lang="en-US" altLang="ko-KR" sz="1400" b="1" u="sng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level of system</a:t>
            </a:r>
            <a:r>
              <a:rPr lang="ko-KR" altLang="en-US" sz="1400" b="1" u="sng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 sub system</a:t>
            </a:r>
            <a:r>
              <a:rPr lang="en-US" altLang="ko-KR" sz="1400" b="1" u="sng" baseline="30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**</a:t>
            </a:r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400" b="1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592960" y="1612354"/>
            <a:ext cx="30243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eparated</a:t>
            </a:r>
            <a:r>
              <a:rPr lang="ko-KR" altLang="en-US" sz="1400" b="1" u="sng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b="1" u="sng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ysRS</a:t>
            </a:r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  <a:p>
            <a:pPr algn="ctr"/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for each Feature)</a:t>
            </a:r>
            <a:endParaRPr lang="ko-KR" altLang="en-US" sz="1400" b="1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32520" y="1941878"/>
            <a:ext cx="3199915" cy="3539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ntroduction</a:t>
            </a:r>
          </a:p>
          <a:p>
            <a:pPr marL="342900" indent="-342900">
              <a:buAutoNum type="arabicPeriod"/>
            </a:pP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General System Description</a:t>
            </a:r>
          </a:p>
          <a:p>
            <a:pPr marL="342900" indent="-342900">
              <a:buAutoNum type="arabicPeriod"/>
            </a:pP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hysical Requirements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.1 HW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.2 ME …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. Functional Req.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.1 Feature#1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.1.1 </a:t>
            </a:r>
            <a:r>
              <a:rPr lang="en-US" altLang="ko-KR" sz="16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Function or UC#1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.1.2 </a:t>
            </a:r>
            <a:r>
              <a:rPr lang="en-US" altLang="ko-KR" sz="16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Function or </a:t>
            </a: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UC#n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.2 Feature#n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5. Quality Attribute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6. Design Constraints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7. System Interface Req.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8. Functional Safety Req.</a:t>
            </a:r>
            <a:endParaRPr lang="ko-KR" altLang="en-US" sz="16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오른쪽 화살표 8"/>
          <p:cNvSpPr/>
          <p:nvPr/>
        </p:nvSpPr>
        <p:spPr bwMode="auto">
          <a:xfrm>
            <a:off x="3080792" y="1873169"/>
            <a:ext cx="1459930" cy="3352731"/>
          </a:xfrm>
          <a:prstGeom prst="rightArrow">
            <a:avLst>
              <a:gd name="adj1" fmla="val 15680"/>
              <a:gd name="adj2" fmla="val 56132"/>
            </a:avLst>
          </a:prstGeom>
          <a:solidFill>
            <a:schemeClr val="bg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latinLnBrk="0"/>
            <a:r>
              <a:rPr kumimoji="0" lang="en-US" altLang="ko-KR" sz="1200" b="1" dirty="0" smtClean="0">
                <a:latin typeface="맑은 고딕" pitchFamily="50" charset="-127"/>
                <a:ea typeface="맑은 고딕" pitchFamily="50" charset="-127"/>
              </a:rPr>
              <a:t>Adjustment</a:t>
            </a:r>
            <a:endParaRPr kumimoji="0" lang="ko-KR" altLang="en-US" sz="12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텍스트 개체 틀 2"/>
          <p:cNvSpPr txBox="1">
            <a:spLocks/>
          </p:cNvSpPr>
          <p:nvPr/>
        </p:nvSpPr>
        <p:spPr>
          <a:xfrm>
            <a:off x="323880" y="5805263"/>
            <a:ext cx="8894792" cy="720081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latinLnBrk="1" hangingPunct="0">
              <a:spcBef>
                <a:spcPct val="20000"/>
              </a:spcBef>
              <a:spcAft>
                <a:spcPct val="0"/>
              </a:spcAft>
              <a:buNone/>
              <a:defRPr kumimoji="1" sz="16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–"/>
              <a:defRPr kumimoji="1" sz="16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•"/>
              <a:defRPr kumimoji="1" sz="1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–"/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/>
            <a:r>
              <a:rPr lang="en-US" altLang="ko-KR" sz="1000" kern="0" dirty="0" smtClean="0"/>
              <a:t>* Subsystem </a:t>
            </a:r>
            <a:r>
              <a:rPr lang="en-US" altLang="ko-KR" sz="1000" kern="0" dirty="0"/>
              <a:t>refers to a physically separated system within the </a:t>
            </a:r>
            <a:r>
              <a:rPr lang="en-US" altLang="ko-KR" sz="1000" kern="0" dirty="0" smtClean="0"/>
              <a:t>project scope. </a:t>
            </a:r>
            <a:r>
              <a:rPr lang="en-US" altLang="ko-KR" sz="1000" kern="0" dirty="0"/>
              <a:t>(</a:t>
            </a:r>
            <a:r>
              <a:rPr lang="en-US" altLang="ko-KR" sz="1000" kern="0" dirty="0" err="1" smtClean="0"/>
              <a:t>e.g</a:t>
            </a:r>
            <a:r>
              <a:rPr lang="en-US" altLang="ko-KR" sz="1000" kern="0" dirty="0"/>
              <a:t>, Measurement System in ADAS</a:t>
            </a:r>
            <a:r>
              <a:rPr lang="en-US" altLang="ko-KR" sz="1000" kern="0" dirty="0" smtClean="0"/>
              <a:t>)</a:t>
            </a:r>
          </a:p>
          <a:p>
            <a:pPr marL="0" indent="0"/>
            <a:r>
              <a:rPr lang="en-US" altLang="ko-KR" sz="1000" kern="0" dirty="0" smtClean="0"/>
              <a:t>** </a:t>
            </a:r>
            <a:r>
              <a:rPr lang="en-US" altLang="ko-KR" sz="1000" kern="0" dirty="0"/>
              <a:t>Part: HW, SW, ME, </a:t>
            </a:r>
            <a:r>
              <a:rPr lang="en-US" altLang="ko-KR" sz="1000" kern="0" dirty="0" smtClean="0"/>
              <a:t>…</a:t>
            </a:r>
          </a:p>
          <a:p>
            <a:pPr marL="0" indent="0"/>
            <a:r>
              <a:rPr lang="en-US" altLang="ko-KR" sz="1000" kern="0" dirty="0" smtClean="0"/>
              <a:t>*** </a:t>
            </a:r>
            <a:r>
              <a:rPr lang="en-US" altLang="ko-KR" sz="1000" kern="0" dirty="0"/>
              <a:t>Since </a:t>
            </a:r>
            <a:r>
              <a:rPr lang="en-US" altLang="ko-KR" sz="1000" kern="0" dirty="0" err="1"/>
              <a:t>SysRS</a:t>
            </a:r>
            <a:r>
              <a:rPr lang="en-US" altLang="ko-KR" sz="1000" kern="0" dirty="0"/>
              <a:t>/SRS does not generally assume design, it is not written for each element/component identified through design</a:t>
            </a:r>
            <a:r>
              <a:rPr lang="en-US" altLang="ko-KR" sz="1000" kern="0" dirty="0" smtClean="0"/>
              <a:t>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851873" y="2949369"/>
            <a:ext cx="1925663" cy="1754326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t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an be written by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art,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uch as HW, SW, but the entire chapter/section number must be complied with and reflected in the document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itle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o that the overall structure can be understood.</a:t>
            </a:r>
            <a:endParaRPr lang="ko-KR" altLang="en-US" sz="12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직사각형 15"/>
          <p:cNvSpPr/>
          <p:nvPr/>
        </p:nvSpPr>
        <p:spPr bwMode="auto">
          <a:xfrm>
            <a:off x="4592960" y="3356992"/>
            <a:ext cx="2664296" cy="720080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latinLnBrk="0"/>
            <a:endParaRPr kumimoji="0"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595465" y="2094278"/>
            <a:ext cx="3199915" cy="3539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ntroduction</a:t>
            </a:r>
          </a:p>
          <a:p>
            <a:pPr marL="342900" indent="-342900">
              <a:buAutoNum type="arabicPeriod"/>
            </a:pP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General System Description</a:t>
            </a:r>
          </a:p>
          <a:p>
            <a:pPr marL="342900" indent="-342900">
              <a:buAutoNum type="arabicPeriod"/>
            </a:pP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hysical Requirements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.1 HW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.2 ME …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. Functional Req.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.1 Feature#1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.1.1 </a:t>
            </a:r>
            <a:r>
              <a:rPr lang="en-US" altLang="ko-KR" sz="16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Function or UC#1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.1.2 </a:t>
            </a:r>
            <a:r>
              <a:rPr lang="en-US" altLang="ko-KR" sz="16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Function or </a:t>
            </a: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UC#n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.2 Feature#n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5. Quality Attribute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6. Design Constraints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7. System Interface Req.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8. Functional Safety Req.</a:t>
            </a:r>
            <a:endParaRPr lang="ko-KR" altLang="en-US" sz="16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오른쪽 중괄호 17"/>
          <p:cNvSpPr/>
          <p:nvPr/>
        </p:nvSpPr>
        <p:spPr bwMode="auto">
          <a:xfrm>
            <a:off x="7401357" y="2091686"/>
            <a:ext cx="432048" cy="3212157"/>
          </a:xfrm>
          <a:prstGeom prst="rightBrace">
            <a:avLst/>
          </a:prstGeom>
          <a:noFill/>
          <a:ln w="9525" algn="ctr">
            <a:solidFill>
              <a:schemeClr val="tx1"/>
            </a:solidFill>
            <a:round/>
            <a:headEnd/>
            <a:tailEnd type="non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tlCol="0" anchor="ctr"/>
          <a:lstStyle/>
          <a:p>
            <a:pPr algn="ctr"/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68567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4</a:t>
            </a:r>
            <a:r>
              <a:rPr lang="en-US" altLang="ko-KR" dirty="0" smtClean="0"/>
              <a:t>. </a:t>
            </a:r>
            <a: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Separation of </a:t>
            </a:r>
            <a:r>
              <a:rPr lang="en-US" altLang="ko-KR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SRS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344488" y="714356"/>
            <a:ext cx="9433048" cy="626412"/>
          </a:xfrm>
        </p:spPr>
        <p:txBody>
          <a:bodyPr/>
          <a:lstStyle/>
          <a:p>
            <a:pPr marL="0" indent="0"/>
            <a:r>
              <a:rPr lang="en-US" altLang="ko-KR" dirty="0"/>
              <a:t>SRS is written at the system level, </a:t>
            </a:r>
            <a:r>
              <a:rPr lang="en-US" altLang="ko-KR" dirty="0" smtClean="0"/>
              <a:t>for each feature</a:t>
            </a:r>
            <a:r>
              <a:rPr lang="en-US" altLang="ko-KR" dirty="0"/>
              <a:t>, or </a:t>
            </a:r>
            <a:r>
              <a:rPr lang="en-US" altLang="ko-KR" dirty="0" smtClean="0"/>
              <a:t>for each </a:t>
            </a:r>
            <a:r>
              <a:rPr lang="en-US" altLang="ko-KR" dirty="0"/>
              <a:t>subsystem.* </a:t>
            </a:r>
            <a:endParaRPr lang="en-US" altLang="ko-KR" dirty="0" smtClean="0"/>
          </a:p>
          <a:p>
            <a:pPr marL="0" indent="0"/>
            <a:r>
              <a:rPr lang="en-US" altLang="ko-KR" dirty="0" smtClean="0"/>
              <a:t> </a:t>
            </a:r>
            <a:r>
              <a:rPr lang="en-US" altLang="ko-KR" dirty="0"/>
              <a:t>- In case of </a:t>
            </a:r>
            <a:r>
              <a:rPr lang="en-US" altLang="ko-KR" dirty="0" smtClean="0"/>
              <a:t>making </a:t>
            </a:r>
            <a:r>
              <a:rPr lang="en-US" altLang="ko-KR" dirty="0"/>
              <a:t>a separate document, organize chapters/sections in the following </a:t>
            </a:r>
            <a:r>
              <a:rPr lang="en-US" altLang="ko-KR" dirty="0" smtClean="0"/>
              <a:t>structure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3F547D-40EB-4492-B403-DBC46F773230}" type="slidenum">
              <a:rPr lang="ko-KR" altLang="en-US" smtClean="0"/>
              <a:pPr>
                <a:defRPr/>
              </a:pPr>
              <a:t>6</a:t>
            </a:fld>
            <a:endParaRPr lang="ko-KR" alt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266507" y="1671077"/>
            <a:ext cx="28761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b="1" u="sng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asic </a:t>
            </a:r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RS </a:t>
            </a:r>
            <a:endParaRPr lang="en-US" altLang="ko-KR" sz="1400" b="1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1400" b="1" u="sng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level of system</a:t>
            </a:r>
            <a:r>
              <a:rPr lang="ko-KR" altLang="en-US" sz="1400" b="1" u="sng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b="1" u="sng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 sub system</a:t>
            </a:r>
            <a:r>
              <a:rPr lang="en-US" altLang="ko-KR" sz="1400" b="1" u="sng" baseline="30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**</a:t>
            </a:r>
            <a:r>
              <a:rPr lang="en-US" altLang="ko-KR" sz="1400" b="1" u="sng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400" b="1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457056" y="1711302"/>
            <a:ext cx="31031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eparated</a:t>
            </a:r>
            <a:r>
              <a:rPr lang="ko-KR" altLang="en-US" sz="1400" b="1" u="sng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RS (for </a:t>
            </a:r>
            <a:r>
              <a:rPr lang="en-US" altLang="ko-KR" sz="1400" b="1" u="sng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ach Feature)</a:t>
            </a:r>
            <a:endParaRPr lang="ko-KR" altLang="en-US" sz="1400" b="1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76536" y="2204864"/>
            <a:ext cx="2656496" cy="3046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ntroduction</a:t>
            </a:r>
          </a:p>
          <a:p>
            <a:pPr marL="342900" indent="-342900">
              <a:buAutoNum type="arabicPeriod"/>
            </a:pP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Overview</a:t>
            </a:r>
          </a:p>
          <a:p>
            <a:pPr marL="342900" indent="-342900">
              <a:buAutoNum type="arabicPeriod"/>
            </a:pP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xternal Interface req.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.1 SW Context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.2 External Interfaces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. Functional Req.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.1 Feature#1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.1.1 </a:t>
            </a:r>
            <a:r>
              <a:rPr lang="en-US" altLang="ko-KR" sz="16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Function or UC#1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.1.2 </a:t>
            </a:r>
            <a:r>
              <a:rPr lang="en-US" altLang="ko-KR" sz="16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Function or </a:t>
            </a: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UC#n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.2 Feature#n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5. Quality Attribute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6. Design Constraints</a:t>
            </a:r>
            <a:endParaRPr lang="ko-KR" altLang="en-US" sz="16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오른쪽 화살표 8"/>
          <p:cNvSpPr/>
          <p:nvPr/>
        </p:nvSpPr>
        <p:spPr bwMode="auto">
          <a:xfrm>
            <a:off x="4160912" y="2462833"/>
            <a:ext cx="1207202" cy="2664296"/>
          </a:xfrm>
          <a:prstGeom prst="rightArrow">
            <a:avLst>
              <a:gd name="adj1" fmla="val 8218"/>
              <a:gd name="adj2" fmla="val 50000"/>
            </a:avLst>
          </a:prstGeom>
          <a:solidFill>
            <a:schemeClr val="bg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latinLnBrk="0"/>
            <a:r>
              <a:rPr kumimoji="0"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djustment</a:t>
            </a:r>
            <a:endParaRPr kumimoji="0" lang="ko-KR" altLang="en-US" sz="12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텍스트 개체 틀 2"/>
          <p:cNvSpPr txBox="1">
            <a:spLocks/>
          </p:cNvSpPr>
          <p:nvPr/>
        </p:nvSpPr>
        <p:spPr>
          <a:xfrm>
            <a:off x="323880" y="5877272"/>
            <a:ext cx="8650906" cy="576064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latinLnBrk="1" hangingPunct="0">
              <a:spcBef>
                <a:spcPct val="20000"/>
              </a:spcBef>
              <a:spcAft>
                <a:spcPct val="0"/>
              </a:spcAft>
              <a:buNone/>
              <a:defRPr kumimoji="1" sz="16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–"/>
              <a:defRPr kumimoji="1" sz="16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•"/>
              <a:defRPr kumimoji="1" sz="1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–"/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/>
            <a:r>
              <a:rPr lang="en-US" altLang="ko-KR" sz="1050" kern="0" dirty="0" smtClean="0"/>
              <a:t>* Since </a:t>
            </a:r>
            <a:r>
              <a:rPr lang="en-US" altLang="ko-KR" sz="1050" kern="0" dirty="0" err="1"/>
              <a:t>SysRS</a:t>
            </a:r>
            <a:r>
              <a:rPr lang="en-US" altLang="ko-KR" sz="1050" kern="0" dirty="0"/>
              <a:t>/SRS does not generally assume design, it is not written for each element/component identified through design.</a:t>
            </a:r>
          </a:p>
          <a:p>
            <a:pPr marL="0" indent="0"/>
            <a:r>
              <a:rPr lang="en-US" altLang="ko-KR" sz="1050" kern="0" dirty="0"/>
              <a:t>** Subsystem refers to a physically separated system within the project scope. (</a:t>
            </a:r>
            <a:r>
              <a:rPr lang="en-US" altLang="ko-KR" sz="1050" kern="0" dirty="0" err="1"/>
              <a:t>e.g</a:t>
            </a:r>
            <a:r>
              <a:rPr lang="en-US" altLang="ko-KR" sz="1050" kern="0" dirty="0"/>
              <a:t>, Measurement System in ADAS, Audio Subsystem)</a:t>
            </a:r>
            <a:endParaRPr lang="ko-KR" altLang="en-US" sz="1050" kern="0"/>
          </a:p>
        </p:txBody>
      </p:sp>
      <p:sp>
        <p:nvSpPr>
          <p:cNvPr id="13" name="TextBox 12"/>
          <p:cNvSpPr txBox="1"/>
          <p:nvPr/>
        </p:nvSpPr>
        <p:spPr>
          <a:xfrm>
            <a:off x="5673080" y="2246849"/>
            <a:ext cx="2656496" cy="3046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ntroduction</a:t>
            </a:r>
          </a:p>
          <a:p>
            <a:pPr marL="342900" indent="-342900">
              <a:buAutoNum type="arabicPeriod"/>
            </a:pP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Overview</a:t>
            </a:r>
          </a:p>
          <a:p>
            <a:pPr marL="342900" indent="-342900">
              <a:buAutoNum type="arabicPeriod"/>
            </a:pP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xternal Interface req.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.1 </a:t>
            </a:r>
            <a:r>
              <a:rPr lang="en-US" altLang="ko-KR" sz="1600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eature Context 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.2 External Interfaces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. Functional Req.</a:t>
            </a:r>
          </a:p>
          <a:p>
            <a:r>
              <a:rPr lang="en-US" altLang="ko-KR" sz="1600" strike="sngStrike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1 Feature#1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.1 </a:t>
            </a:r>
            <a:r>
              <a:rPr lang="en-US" altLang="ko-KR" sz="16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Function or UC#1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.2 </a:t>
            </a:r>
            <a:r>
              <a:rPr lang="en-US" altLang="ko-KR" sz="16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Function or </a:t>
            </a: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UC#n</a:t>
            </a:r>
          </a:p>
          <a:p>
            <a:r>
              <a:rPr lang="en-US" altLang="ko-KR" sz="1600" strike="sngStrike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2 Feature#n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5. Quality Attribute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6. Design Constraints</a:t>
            </a:r>
            <a:endParaRPr lang="ko-KR" altLang="en-US" sz="16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59593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5</a:t>
            </a:r>
            <a:r>
              <a:rPr lang="en-US" altLang="ko-KR" dirty="0" smtClean="0"/>
              <a:t>. Separation of HLD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344488" y="714355"/>
            <a:ext cx="8894792" cy="811161"/>
          </a:xfrm>
        </p:spPr>
        <p:txBody>
          <a:bodyPr/>
          <a:lstStyle/>
          <a:p>
            <a:pPr marL="0" indent="0"/>
            <a:r>
              <a:rPr lang="en-US" altLang="ko-KR" dirty="0"/>
              <a:t>HLD is basically written for each feature, and when it is separated from SAD and created as a separate document, chapters/sections are adjusted as follows including </a:t>
            </a:r>
            <a:r>
              <a:rPr lang="en-US" altLang="ko-KR" dirty="0">
                <a:solidFill>
                  <a:srgbClr val="FF0000"/>
                </a:solidFill>
              </a:rPr>
              <a:t>Feature/Subsystem </a:t>
            </a:r>
            <a:r>
              <a:rPr lang="en-US" altLang="ko-KR" dirty="0" smtClean="0">
                <a:solidFill>
                  <a:srgbClr val="FF0000"/>
                </a:solidFill>
              </a:rPr>
              <a:t>context</a:t>
            </a:r>
            <a:r>
              <a:rPr lang="en-US" altLang="ko-KR" dirty="0" smtClean="0"/>
              <a:t>.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3F547D-40EB-4492-B403-DBC46F773230}" type="slidenum">
              <a:rPr lang="ko-KR" altLang="en-US" smtClean="0"/>
              <a:pPr>
                <a:defRPr/>
              </a:pPr>
              <a:t>7</a:t>
            </a:fld>
            <a:endParaRPr lang="ko-KR" alt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153828" y="1989172"/>
            <a:ext cx="10422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u="sng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asic </a:t>
            </a:r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AD</a:t>
            </a:r>
            <a:endParaRPr lang="ko-KR" altLang="en-US" sz="1400" b="1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637013" y="2029397"/>
            <a:ext cx="146738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eparated HLD</a:t>
            </a:r>
            <a:endParaRPr lang="ko-KR" altLang="en-US" sz="1400" b="1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76536" y="2522959"/>
            <a:ext cx="2972289" cy="28007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indent="-268288">
              <a:buAutoNum type="arabicPeriod"/>
            </a:pPr>
            <a:r>
              <a:rPr lang="en-US" altLang="ko-KR" sz="16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ntroduction</a:t>
            </a:r>
          </a:p>
          <a:p>
            <a:pPr marL="268288" indent="-268288">
              <a:buAutoNum type="arabicPeriod"/>
            </a:pP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rchitectural Drivers</a:t>
            </a:r>
          </a:p>
          <a:p>
            <a:pPr marL="268288" indent="-268288">
              <a:buAutoNum type="arabicPeriod"/>
            </a:pP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W Context</a:t>
            </a:r>
          </a:p>
          <a:p>
            <a:pPr marL="268288" indent="-268288">
              <a:buAutoNum type="arabicPeriod"/>
            </a:pP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W Architecture</a:t>
            </a:r>
          </a:p>
          <a:p>
            <a:pPr marL="268288" indent="-268288">
              <a:buAutoNum type="arabicPeriod"/>
            </a:pP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esource Consumption</a:t>
            </a:r>
          </a:p>
          <a:p>
            <a:pPr marL="268288" indent="-268288">
              <a:buAutoNum type="arabicPeriod"/>
            </a:pPr>
            <a:r>
              <a:rPr lang="en-US" altLang="ko-KR" sz="16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teraction Design</a:t>
            </a:r>
          </a:p>
          <a:p>
            <a:r>
              <a:rPr lang="en-US" altLang="ko-KR" sz="16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.1 Feature#1</a:t>
            </a:r>
          </a:p>
          <a:p>
            <a:r>
              <a:rPr lang="en-US" altLang="ko-KR" sz="16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7. Interface Design</a:t>
            </a:r>
          </a:p>
          <a:p>
            <a:r>
              <a:rPr lang="en-US" altLang="ko-KR" sz="16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7.1 Feature#1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8. QA Scenario / Alternatives</a:t>
            </a:r>
          </a:p>
          <a:p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9. Future Extension</a:t>
            </a:r>
            <a:endParaRPr lang="ko-KR" altLang="en-US" sz="16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241032" y="2522959"/>
            <a:ext cx="3966792" cy="28007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indent="-268288">
              <a:buAutoNum type="arabicPeriod"/>
            </a:pPr>
            <a:r>
              <a:rPr lang="en-US" altLang="ko-KR" sz="16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ntroduction</a:t>
            </a:r>
          </a:p>
          <a:p>
            <a:pPr marL="268288" indent="-268288">
              <a:buAutoNum type="arabicPeriod"/>
            </a:pP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Feature/Function list</a:t>
            </a:r>
            <a:r>
              <a:rPr lang="ko-KR" altLang="en-US" sz="160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6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cenario or UC)</a:t>
            </a:r>
            <a:endParaRPr lang="en-US" altLang="ko-KR" sz="16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6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en-US" altLang="ko-KR" sz="1600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eature/Subsystem </a:t>
            </a:r>
            <a:r>
              <a:rPr lang="en-US" altLang="ko-KR" sz="1600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xt</a:t>
            </a:r>
          </a:p>
          <a:p>
            <a:r>
              <a:rPr lang="en-US" altLang="ko-KR" sz="16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lang="en-US" altLang="ko-KR" sz="16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en-US" altLang="ko-KR" sz="16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teraction Design</a:t>
            </a:r>
          </a:p>
          <a:p>
            <a:r>
              <a:rPr lang="en-US" altLang="ko-KR" sz="160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lang="en-US" altLang="ko-KR" sz="16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1 Feature#1</a:t>
            </a:r>
          </a:p>
          <a:p>
            <a:r>
              <a:rPr lang="en-US" altLang="ko-KR" sz="160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lang="en-US" altLang="ko-KR" sz="16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1.1 SD for Scenario#1 or UC#1</a:t>
            </a:r>
          </a:p>
          <a:p>
            <a:r>
              <a:rPr lang="en-US" altLang="ko-KR" sz="16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lang="en-US" altLang="ko-KR" sz="1600" dirty="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60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lang="en-US" altLang="ko-KR" sz="16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 Interface Design</a:t>
            </a:r>
          </a:p>
          <a:p>
            <a:r>
              <a:rPr lang="en-US" altLang="ko-KR" sz="160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lang="en-US" altLang="ko-KR" sz="16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1 Feature#1</a:t>
            </a:r>
          </a:p>
          <a:p>
            <a:r>
              <a:rPr lang="en-US" altLang="ko-KR" sz="160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lang="en-US" altLang="ko-KR" sz="16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1.1 Interfaces </a:t>
            </a:r>
            <a:r>
              <a:rPr lang="en-US" altLang="ko-KR" sz="160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or Scenario#1 or UC#1</a:t>
            </a:r>
          </a:p>
          <a:p>
            <a:r>
              <a:rPr lang="en-US" altLang="ko-KR" sz="16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lang="en-US" altLang="ko-KR" sz="1600" dirty="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오른쪽 화살표 8"/>
          <p:cNvSpPr/>
          <p:nvPr/>
        </p:nvSpPr>
        <p:spPr bwMode="auto">
          <a:xfrm>
            <a:off x="3656856" y="2780928"/>
            <a:ext cx="1310084" cy="2664296"/>
          </a:xfrm>
          <a:prstGeom prst="rightArrow">
            <a:avLst>
              <a:gd name="adj1" fmla="val 8218"/>
              <a:gd name="adj2" fmla="val 50000"/>
            </a:avLst>
          </a:prstGeom>
          <a:solidFill>
            <a:schemeClr val="bg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latinLnBrk="0"/>
            <a:r>
              <a:rPr kumimoji="0"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djustment</a:t>
            </a:r>
            <a:endParaRPr kumimoji="0" lang="ko-KR" altLang="en-US" sz="1200" b="1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12547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6</a:t>
            </a:r>
            <a:r>
              <a:rPr lang="en-US" altLang="ko-KR" dirty="0" smtClean="0"/>
              <a:t>. Integration of SDD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344487" y="714355"/>
            <a:ext cx="9398355" cy="811161"/>
          </a:xfrm>
        </p:spPr>
        <p:txBody>
          <a:bodyPr/>
          <a:lstStyle/>
          <a:p>
            <a:r>
              <a:rPr lang="en-US" altLang="ko-KR" dirty="0"/>
              <a:t>SDD is basically written for one component. When composing documents for each subsystem or feature, including the </a:t>
            </a:r>
            <a:r>
              <a:rPr lang="en-US" altLang="ko-KR" dirty="0">
                <a:solidFill>
                  <a:srgbClr val="FF0000"/>
                </a:solidFill>
              </a:rPr>
              <a:t>subsystem/feature context</a:t>
            </a:r>
            <a:r>
              <a:rPr lang="en-US" altLang="ko-KR" dirty="0"/>
              <a:t>, adjust chapters/sections as follows. When HLD is integrated by subsystem or feature, it is located as a separate chapter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3F547D-40EB-4492-B403-DBC46F773230}" type="slidenum">
              <a:rPr lang="ko-KR" altLang="en-US" smtClean="0"/>
              <a:pPr>
                <a:defRPr/>
              </a:pPr>
              <a:t>8</a:t>
            </a:fld>
            <a:endParaRPr lang="ko-KR" alt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776536" y="1671077"/>
            <a:ext cx="10502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asic</a:t>
            </a:r>
            <a:r>
              <a:rPr lang="ko-KR" altLang="en-US" sz="1400" b="1" u="sng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DD</a:t>
            </a:r>
            <a:endParaRPr lang="ko-KR" altLang="en-US" sz="1400" b="1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656856" y="1711302"/>
            <a:ext cx="17925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N SDDs integrated</a:t>
            </a:r>
            <a:endParaRPr lang="ko-KR" altLang="en-US" sz="1400" b="1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45155" y="2204864"/>
            <a:ext cx="2180533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3525" indent="-263525">
              <a:buAutoNum type="arabicPeriod"/>
            </a:pP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ntroduction</a:t>
            </a:r>
          </a:p>
          <a:p>
            <a:pPr marL="263525" indent="-263525">
              <a:buFontTx/>
              <a:buAutoNum type="arabicPeriod"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omponent 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ontext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*</a:t>
            </a:r>
          </a:p>
          <a:p>
            <a:pPr marL="263525" indent="-263525">
              <a:buAutoNum type="arabicPeriod"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tatic Design</a:t>
            </a:r>
          </a:p>
          <a:p>
            <a:pPr marL="263525" indent="-263525">
              <a:buAutoNum type="arabicPeriod"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ynamic Design</a:t>
            </a:r>
          </a:p>
          <a:p>
            <a:pPr marL="263525" indent="-263525">
              <a:buAutoNum type="arabicPeriod"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lgorithm Design</a:t>
            </a:r>
          </a:p>
          <a:p>
            <a:pPr marL="263525" indent="-263525">
              <a:buAutoNum type="arabicPeriod"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Global Variables</a:t>
            </a:r>
          </a:p>
          <a:p>
            <a:pPr marL="263525" indent="-263525">
              <a:buAutoNum type="arabicPeriod"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esign Alternatives**</a:t>
            </a:r>
            <a:endParaRPr lang="ko-KR" altLang="en-US" sz="14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512840" y="2204864"/>
            <a:ext cx="3141373" cy="3539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. Introduction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.2 Scope</a:t>
            </a:r>
            <a:r>
              <a:rPr lang="ko-KR" altLang="en-US" sz="140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Includes </a:t>
            </a:r>
            <a:r>
              <a:rPr lang="en-US" altLang="ko-KR" sz="1400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eature context 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4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. Component#1</a:t>
            </a:r>
          </a:p>
          <a:p>
            <a:r>
              <a:rPr lang="en-US" altLang="ko-KR" sz="14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.1Component </a:t>
            </a:r>
            <a:r>
              <a:rPr lang="en-US" altLang="ko-KR" sz="140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xt</a:t>
            </a:r>
          </a:p>
          <a:p>
            <a:r>
              <a:rPr lang="en-US" altLang="ko-KR" sz="14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.2 Static </a:t>
            </a:r>
            <a:r>
              <a:rPr lang="en-US" altLang="ko-KR" sz="140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esign</a:t>
            </a:r>
          </a:p>
          <a:p>
            <a:r>
              <a:rPr lang="en-US" altLang="ko-KR" sz="14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.3 Dynamic </a:t>
            </a:r>
            <a:r>
              <a:rPr lang="en-US" altLang="ko-KR" sz="140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esign</a:t>
            </a:r>
          </a:p>
          <a:p>
            <a:r>
              <a:rPr lang="en-US" altLang="ko-KR" sz="14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.4 Algorithm </a:t>
            </a:r>
            <a:r>
              <a:rPr lang="en-US" altLang="ko-KR" sz="140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esign</a:t>
            </a:r>
          </a:p>
          <a:p>
            <a:r>
              <a:rPr lang="en-US" altLang="ko-KR" sz="14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.5 Global </a:t>
            </a:r>
            <a:r>
              <a:rPr lang="en-US" altLang="ko-KR" sz="140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ariables</a:t>
            </a:r>
            <a:endParaRPr lang="ko-KR" altLang="en-US" sz="140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400" dirty="0" smtClean="0">
                <a:solidFill>
                  <a:srgbClr val="CC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. Compoenent#2</a:t>
            </a:r>
          </a:p>
          <a:p>
            <a:r>
              <a:rPr lang="en-US" altLang="ko-KR" sz="1400" dirty="0" smtClean="0">
                <a:solidFill>
                  <a:srgbClr val="CC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.1 Component Context*</a:t>
            </a:r>
          </a:p>
          <a:p>
            <a:r>
              <a:rPr lang="en-US" altLang="ko-KR" sz="1400" dirty="0" smtClean="0">
                <a:solidFill>
                  <a:srgbClr val="CC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.2 Static Design</a:t>
            </a:r>
          </a:p>
          <a:p>
            <a:r>
              <a:rPr lang="en-US" altLang="ko-KR" sz="1400" dirty="0" smtClean="0">
                <a:solidFill>
                  <a:srgbClr val="CC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.3 Dynamic Design</a:t>
            </a:r>
          </a:p>
          <a:p>
            <a:r>
              <a:rPr lang="en-US" altLang="ko-KR" sz="1400" dirty="0" smtClean="0">
                <a:solidFill>
                  <a:srgbClr val="CC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.4 Algorithm Design</a:t>
            </a:r>
          </a:p>
          <a:p>
            <a:r>
              <a:rPr lang="en-US" altLang="ko-KR" sz="1400" dirty="0" smtClean="0">
                <a:solidFill>
                  <a:srgbClr val="CC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.5 Global Variables</a:t>
            </a:r>
          </a:p>
          <a:p>
            <a:r>
              <a:rPr lang="en-US" altLang="ko-KR" sz="1400" dirty="0" smtClean="0">
                <a:solidFill>
                  <a:srgbClr val="CC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</a:p>
          <a:p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n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 Design Alternatives</a:t>
            </a:r>
            <a:endParaRPr lang="ko-KR" altLang="en-US" sz="14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오른쪽 화살표 8"/>
          <p:cNvSpPr/>
          <p:nvPr/>
        </p:nvSpPr>
        <p:spPr bwMode="auto">
          <a:xfrm>
            <a:off x="2569078" y="1824965"/>
            <a:ext cx="864040" cy="2664296"/>
          </a:xfrm>
          <a:prstGeom prst="rightArrow">
            <a:avLst>
              <a:gd name="adj1" fmla="val 22791"/>
              <a:gd name="adj2" fmla="val 50000"/>
            </a:avLst>
          </a:prstGeom>
          <a:solidFill>
            <a:schemeClr val="bg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latinLnBrk="0"/>
            <a:r>
              <a:rPr kumimoji="0"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djust-</a:t>
            </a:r>
            <a:r>
              <a:rPr kumimoji="0" lang="en-US" altLang="ko-KR" sz="12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ent</a:t>
            </a:r>
            <a:endParaRPr kumimoji="0" lang="ko-KR" altLang="en-US" sz="12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537176" y="1700808"/>
            <a:ext cx="34917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N</a:t>
            </a:r>
            <a:r>
              <a:rPr lang="ko-KR" altLang="en-US" sz="1400" b="1" u="sng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b="1" u="sng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DDs integrated (HLD is integrated)</a:t>
            </a:r>
            <a:endParaRPr lang="ko-KR" altLang="en-US" sz="1400" b="1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681192" y="2194370"/>
            <a:ext cx="3141373" cy="37548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. Introduction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.2 Scope: Includes </a:t>
            </a:r>
            <a:r>
              <a:rPr lang="en-US" altLang="ko-KR" sz="1400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eature context 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. </a:t>
            </a:r>
            <a:r>
              <a:rPr lang="en-US" altLang="ko-KR" sz="1400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ter Component Interaction</a:t>
            </a:r>
          </a:p>
          <a:p>
            <a:r>
              <a:rPr lang="en-US" altLang="ko-KR" sz="140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sz="14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 Component#1</a:t>
            </a:r>
          </a:p>
          <a:p>
            <a:r>
              <a:rPr lang="en-US" altLang="ko-KR" sz="140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sz="14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1Component </a:t>
            </a:r>
            <a:r>
              <a:rPr lang="en-US" altLang="ko-KR" sz="140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xt</a:t>
            </a:r>
          </a:p>
          <a:p>
            <a:r>
              <a:rPr lang="en-US" altLang="ko-KR" sz="140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sz="14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2 Static </a:t>
            </a:r>
            <a:r>
              <a:rPr lang="en-US" altLang="ko-KR" sz="140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esign</a:t>
            </a:r>
          </a:p>
          <a:p>
            <a:r>
              <a:rPr lang="en-US" altLang="ko-KR" sz="140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sz="14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3 Dynamic </a:t>
            </a:r>
            <a:r>
              <a:rPr lang="en-US" altLang="ko-KR" sz="140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esign</a:t>
            </a:r>
          </a:p>
          <a:p>
            <a:r>
              <a:rPr lang="en-US" altLang="ko-KR" sz="140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sz="14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4 Algorithm </a:t>
            </a:r>
            <a:r>
              <a:rPr lang="en-US" altLang="ko-KR" sz="140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esign</a:t>
            </a:r>
          </a:p>
          <a:p>
            <a:r>
              <a:rPr lang="en-US" altLang="ko-KR" sz="140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sz="1400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5 Global </a:t>
            </a:r>
            <a:r>
              <a:rPr lang="en-US" altLang="ko-KR" sz="140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ariables</a:t>
            </a:r>
            <a:endParaRPr lang="ko-KR" altLang="en-US" sz="140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400" dirty="0">
                <a:solidFill>
                  <a:srgbClr val="CC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lang="en-US" altLang="ko-KR" sz="1400" dirty="0" smtClean="0">
                <a:solidFill>
                  <a:srgbClr val="CC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 Compoenent#2</a:t>
            </a:r>
          </a:p>
          <a:p>
            <a:r>
              <a:rPr lang="en-US" altLang="ko-KR" sz="1400" dirty="0">
                <a:solidFill>
                  <a:srgbClr val="CC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lang="en-US" altLang="ko-KR" sz="1400" dirty="0" smtClean="0">
                <a:solidFill>
                  <a:srgbClr val="CC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1 Component Context*</a:t>
            </a:r>
          </a:p>
          <a:p>
            <a:r>
              <a:rPr lang="en-US" altLang="ko-KR" sz="1400" dirty="0">
                <a:solidFill>
                  <a:srgbClr val="CC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lang="en-US" altLang="ko-KR" sz="1400" dirty="0" smtClean="0">
                <a:solidFill>
                  <a:srgbClr val="CC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2 Static Design</a:t>
            </a:r>
          </a:p>
          <a:p>
            <a:r>
              <a:rPr lang="en-US" altLang="ko-KR" sz="1400" dirty="0">
                <a:solidFill>
                  <a:srgbClr val="CC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lang="en-US" altLang="ko-KR" sz="1400" dirty="0" smtClean="0">
                <a:solidFill>
                  <a:srgbClr val="CC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3 Dynamic Design</a:t>
            </a:r>
          </a:p>
          <a:p>
            <a:r>
              <a:rPr lang="en-US" altLang="ko-KR" sz="1400" dirty="0">
                <a:solidFill>
                  <a:srgbClr val="CC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lang="en-US" altLang="ko-KR" sz="1400" dirty="0" smtClean="0">
                <a:solidFill>
                  <a:srgbClr val="CC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4 Algorithm Design</a:t>
            </a:r>
          </a:p>
          <a:p>
            <a:r>
              <a:rPr lang="en-US" altLang="ko-KR" sz="1400" dirty="0">
                <a:solidFill>
                  <a:srgbClr val="CC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lang="en-US" altLang="ko-KR" sz="1400" dirty="0" smtClean="0">
                <a:solidFill>
                  <a:srgbClr val="CC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5 Global Variables</a:t>
            </a:r>
          </a:p>
          <a:p>
            <a:r>
              <a:rPr lang="en-US" altLang="ko-KR" sz="1400" dirty="0" smtClean="0">
                <a:solidFill>
                  <a:srgbClr val="CC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</a:p>
          <a:p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n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 Design Alternatives</a:t>
            </a:r>
            <a:endParaRPr lang="ko-KR" altLang="en-US" sz="14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자유형 12"/>
          <p:cNvSpPr/>
          <p:nvPr/>
        </p:nvSpPr>
        <p:spPr bwMode="auto">
          <a:xfrm>
            <a:off x="8735716" y="1387027"/>
            <a:ext cx="1007127" cy="1351689"/>
          </a:xfrm>
          <a:custGeom>
            <a:avLst/>
            <a:gdLst>
              <a:gd name="connsiteX0" fmla="*/ 0 w 836990"/>
              <a:gd name="connsiteY0" fmla="*/ 0 h 1446028"/>
              <a:gd name="connsiteX1" fmla="*/ 818707 w 836990"/>
              <a:gd name="connsiteY1" fmla="*/ 393405 h 1446028"/>
              <a:gd name="connsiteX2" fmla="*/ 489098 w 836990"/>
              <a:gd name="connsiteY2" fmla="*/ 1446028 h 144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36990" h="1446028">
                <a:moveTo>
                  <a:pt x="0" y="0"/>
                </a:moveTo>
                <a:cubicBezTo>
                  <a:pt x="368595" y="76200"/>
                  <a:pt x="737191" y="152400"/>
                  <a:pt x="818707" y="393405"/>
                </a:cubicBezTo>
                <a:cubicBezTo>
                  <a:pt x="900223" y="634410"/>
                  <a:pt x="694660" y="1040219"/>
                  <a:pt x="489098" y="1446028"/>
                </a:cubicBezTo>
              </a:path>
            </a:pathLst>
          </a:custGeom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직사각형 13"/>
          <p:cNvSpPr/>
          <p:nvPr/>
        </p:nvSpPr>
        <p:spPr>
          <a:xfrm>
            <a:off x="560512" y="6135107"/>
            <a:ext cx="525658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050" baseline="30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ncludes external Interface</a:t>
            </a:r>
          </a:p>
          <a:p>
            <a:r>
              <a:rPr lang="en-US" altLang="ko-KR" sz="1000" baseline="30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**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Design Alternatives for SDD is added in</a:t>
            </a:r>
            <a:r>
              <a:rPr lang="ko-KR" altLang="en-US" sz="100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SPICE 3.0.</a:t>
            </a: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34777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DBPMRbQEK4PwqppxHt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e9y31qx0OExXY5K1tKhA"/>
</p:tagLst>
</file>

<file path=ppt/theme/theme1.xml><?xml version="1.0" encoding="utf-8"?>
<a:theme xmlns:a="http://schemas.openxmlformats.org/drawingml/2006/main" name="1_기본 디자인">
  <a:themeElements>
    <a:clrScheme name="1_기본 디자인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 cap="flat" cmpd="sng" algn="ctr">
          <a:solidFill>
            <a:schemeClr val="tx1">
              <a:lumMod val="50000"/>
              <a:lumOff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anchor="ctr"/>
      <a:lstStyle>
        <a:defPPr algn="ctr" latinLnBrk="0">
          <a:defRPr kumimoji="0" sz="1200" b="1" dirty="0">
            <a:latin typeface="맑은 고딕" pitchFamily="50" charset="-127"/>
            <a:ea typeface="맑은 고딕" pitchFamily="50" charset="-127"/>
          </a:defRPr>
        </a:defPPr>
      </a:lstStyle>
    </a:spDef>
    <a:lnDef>
      <a:spPr bwMode="auto">
        <a:noFill/>
        <a:ln w="9525" algn="ctr">
          <a:solidFill>
            <a:schemeClr val="tx1"/>
          </a:solidFill>
          <a:round/>
          <a:headEnd/>
          <a:tailEnd type="none"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609</TotalTime>
  <Words>2299</Words>
  <Application>Microsoft Office PowerPoint</Application>
  <PresentationFormat>A4 용지(210x297mm)</PresentationFormat>
  <Paragraphs>570</Paragraphs>
  <Slides>17</Slides>
  <Notes>2</Notes>
  <HiddenSlides>0</HiddenSlides>
  <MMClips>0</MMClips>
  <ScaleCrop>false</ScaleCrop>
  <HeadingPairs>
    <vt:vector size="6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7</vt:i4>
      </vt:variant>
    </vt:vector>
  </HeadingPairs>
  <TitlesOfParts>
    <vt:vector size="26" baseType="lpstr">
      <vt:lpstr>LG스마트체 SemiBold</vt:lpstr>
      <vt:lpstr>굴림</vt:lpstr>
      <vt:lpstr>돋움</vt:lpstr>
      <vt:lpstr>맑은 고딕</vt:lpstr>
      <vt:lpstr>맑은 고딕</vt:lpstr>
      <vt:lpstr>Arial</vt:lpstr>
      <vt:lpstr>Arial Narrow</vt:lpstr>
      <vt:lpstr>Wingdings</vt:lpstr>
      <vt:lpstr>1_기본 디자인</vt:lpstr>
      <vt:lpstr>PowerPoint 프레젠테이션</vt:lpstr>
      <vt:lpstr>PowerPoint 프레젠테이션</vt:lpstr>
      <vt:lpstr>PowerPoint 프레젠테이션</vt:lpstr>
      <vt:lpstr>PowerPoint 프레젠테이션</vt:lpstr>
      <vt:lpstr>2. Composition of Analysis/Design Documentation </vt:lpstr>
      <vt:lpstr>3. Separation of SyRS</vt:lpstr>
      <vt:lpstr>4. Separation of SRS</vt:lpstr>
      <vt:lpstr>5. Separation of HLD</vt:lpstr>
      <vt:lpstr>6. Integration of SDD</vt:lpstr>
      <vt:lpstr>7. Example of Documentation Composition by SW Structure type </vt:lpstr>
      <vt:lpstr>7.1 SW Structure Type A: CSD Example  </vt:lpstr>
      <vt:lpstr>7.2 SW Structure Type B: HUD Example </vt:lpstr>
      <vt:lpstr>7.3 SW Structure Type C: ADAS Example</vt:lpstr>
      <vt:lpstr>7.4 SW Structure Type D: AVN Example</vt:lpstr>
      <vt:lpstr>7.5 SW Structure Type E: Telematics Example</vt:lpstr>
      <vt:lpstr>APPENDIX 1. EA and Automatic creation of documentation </vt:lpstr>
      <vt:lpstr>APPENDIX 2. Traceability Module Setup (Doors)</vt:lpstr>
    </vt:vector>
  </TitlesOfParts>
  <Manager>VS스마트SW프로세스팀</Manager>
  <Company>LG전자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분석설계 템플릿 활용 사례 가이드</dc:title>
  <dc:subject>스마트개발센터 SW개발 표준 프로세스</dc:subject>
  <dc:creator>박관록</dc:creator>
  <cp:lastModifiedBy>송민영/책임연구원/SW Process Unit(minyoung.song@lge.com)</cp:lastModifiedBy>
  <cp:revision>1361</cp:revision>
  <dcterms:created xsi:type="dcterms:W3CDTF">2008-11-26T05:44:28Z</dcterms:created>
  <dcterms:modified xsi:type="dcterms:W3CDTF">2022-09-04T11:35:36Z</dcterms:modified>
</cp:coreProperties>
</file>